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0"/>
  </p:notesMasterIdLst>
  <p:sldIdLst>
    <p:sldId id="273" r:id="rId5"/>
    <p:sldId id="459" r:id="rId6"/>
    <p:sldId id="338" r:id="rId7"/>
    <p:sldId id="432" r:id="rId8"/>
    <p:sldId id="439" r:id="rId9"/>
    <p:sldId id="416" r:id="rId10"/>
    <p:sldId id="466" r:id="rId11"/>
    <p:sldId id="418" r:id="rId12"/>
    <p:sldId id="409" r:id="rId13"/>
    <p:sldId id="419" r:id="rId14"/>
    <p:sldId id="446" r:id="rId15"/>
    <p:sldId id="445" r:id="rId16"/>
    <p:sldId id="437" r:id="rId17"/>
    <p:sldId id="436" r:id="rId18"/>
    <p:sldId id="341" r:id="rId19"/>
    <p:sldId id="438" r:id="rId20"/>
    <p:sldId id="447" r:id="rId21"/>
    <p:sldId id="448" r:id="rId22"/>
    <p:sldId id="431" r:id="rId23"/>
    <p:sldId id="344" r:id="rId24"/>
    <p:sldId id="346" r:id="rId25"/>
    <p:sldId id="340" r:id="rId26"/>
    <p:sldId id="440" r:id="rId27"/>
    <p:sldId id="347" r:id="rId28"/>
    <p:sldId id="410" r:id="rId29"/>
    <p:sldId id="411" r:id="rId30"/>
    <p:sldId id="453" r:id="rId31"/>
    <p:sldId id="454" r:id="rId32"/>
    <p:sldId id="461" r:id="rId33"/>
    <p:sldId id="456" r:id="rId34"/>
    <p:sldId id="412" r:id="rId35"/>
    <p:sldId id="457" r:id="rId36"/>
    <p:sldId id="468" r:id="rId37"/>
    <p:sldId id="469" r:id="rId38"/>
    <p:sldId id="354" r:id="rId39"/>
    <p:sldId id="467" r:id="rId40"/>
    <p:sldId id="413" r:id="rId41"/>
    <p:sldId id="414" r:id="rId42"/>
    <p:sldId id="465" r:id="rId43"/>
    <p:sldId id="415" r:id="rId44"/>
    <p:sldId id="474" r:id="rId45"/>
    <p:sldId id="473" r:id="rId46"/>
    <p:sldId id="470" r:id="rId47"/>
    <p:sldId id="471" r:id="rId48"/>
    <p:sldId id="472" r:id="rId49"/>
  </p:sldIdLst>
  <p:sldSz cx="12192000" cy="6858000"/>
  <p:notesSz cx="6858000" cy="9144000"/>
  <p:custDataLst>
    <p:tags r:id="rId5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B562"/>
    <a:srgbClr val="941914"/>
    <a:srgbClr val="6A2926"/>
    <a:srgbClr val="C63228"/>
    <a:srgbClr val="442A26"/>
    <a:srgbClr val="AE2C26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C85DDF-A6AB-47AA-B838-3D8A90447493}" v="30" dt="2025-09-25T09:30:09.8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1138" y="2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viewProps" Target="viewProp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microsoft.com/office/2016/11/relationships/changesInfo" Target="changesInfos/changesInfo1.xml"/><Relationship Id="rId8" Type="http://schemas.openxmlformats.org/officeDocument/2006/relationships/slide" Target="slides/slide4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microsoft.com/office/2015/10/relationships/revisionInfo" Target="revisionInfo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an Ramirez" userId="S::julian.ramirez@gbsb.global::75b83ac6-fa4e-4589-9d0d-2f5734684cec" providerId="AD" clId="Web-{55942F23-A9D2-43C2-37BC-FAED53092DC1}"/>
    <pc:docChg chg="modSld">
      <pc:chgData name="Julian Ramirez" userId="S::julian.ramirez@gbsb.global::75b83ac6-fa4e-4589-9d0d-2f5734684cec" providerId="AD" clId="Web-{55942F23-A9D2-43C2-37BC-FAED53092DC1}" dt="2025-09-22T08:32:06.219" v="75"/>
      <pc:docMkLst>
        <pc:docMk/>
      </pc:docMkLst>
      <pc:sldChg chg="addSp delSp modSp">
        <pc:chgData name="Julian Ramirez" userId="S::julian.ramirez@gbsb.global::75b83ac6-fa4e-4589-9d0d-2f5734684cec" providerId="AD" clId="Web-{55942F23-A9D2-43C2-37BC-FAED53092DC1}" dt="2025-09-22T08:29:03.076" v="18" actId="1076"/>
        <pc:sldMkLst>
          <pc:docMk/>
          <pc:sldMk cId="3670432766" sldId="273"/>
        </pc:sldMkLst>
        <pc:spChg chg="mod">
          <ac:chgData name="Julian Ramirez" userId="S::julian.ramirez@gbsb.global::75b83ac6-fa4e-4589-9d0d-2f5734684cec" providerId="AD" clId="Web-{55942F23-A9D2-43C2-37BC-FAED53092DC1}" dt="2025-09-22T08:28:47.778" v="15" actId="20577"/>
          <ac:spMkLst>
            <pc:docMk/>
            <pc:sldMk cId="3670432766" sldId="273"/>
            <ac:spMk id="7" creationId="{CFA69862-AEC8-44C2-8F67-3EDD4CD638B9}"/>
          </ac:spMkLst>
        </pc:spChg>
        <pc:picChg chg="add mod">
          <ac:chgData name="Julian Ramirez" userId="S::julian.ramirez@gbsb.global::75b83ac6-fa4e-4589-9d0d-2f5734684cec" providerId="AD" clId="Web-{55942F23-A9D2-43C2-37BC-FAED53092DC1}" dt="2025-09-22T08:29:03.076" v="18" actId="1076"/>
          <ac:picMkLst>
            <pc:docMk/>
            <pc:sldMk cId="3670432766" sldId="273"/>
            <ac:picMk id="3" creationId="{DD708385-C056-86FD-ECC2-AD6B4FD8CEB5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2:06.219" v="75"/>
        <pc:sldMkLst>
          <pc:docMk/>
          <pc:sldMk cId="0" sldId="310"/>
        </pc:sldMkLst>
      </pc:sldChg>
      <pc:sldChg chg="modSp">
        <pc:chgData name="Julian Ramirez" userId="S::julian.ramirez@gbsb.global::75b83ac6-fa4e-4589-9d0d-2f5734684cec" providerId="AD" clId="Web-{55942F23-A9D2-43C2-37BC-FAED53092DC1}" dt="2025-09-22T08:29:34.186" v="23" actId="1076"/>
        <pc:sldMkLst>
          <pc:docMk/>
          <pc:sldMk cId="4137926027" sldId="334"/>
        </pc:sldMkLst>
      </pc:sldChg>
      <pc:sldChg chg="addSp delSp">
        <pc:chgData name="Julian Ramirez" userId="S::julian.ramirez@gbsb.global::75b83ac6-fa4e-4589-9d0d-2f5734684cec" providerId="AD" clId="Web-{55942F23-A9D2-43C2-37BC-FAED53092DC1}" dt="2025-09-22T08:31:38.625" v="65"/>
        <pc:sldMkLst>
          <pc:docMk/>
          <pc:sldMk cId="3580748307" sldId="340"/>
        </pc:sldMkLst>
        <pc:picChg chg="add">
          <ac:chgData name="Julian Ramirez" userId="S::julian.ramirez@gbsb.global::75b83ac6-fa4e-4589-9d0d-2f5734684cec" providerId="AD" clId="Web-{55942F23-A9D2-43C2-37BC-FAED53092DC1}" dt="2025-09-22T08:31:38.625" v="65"/>
          <ac:picMkLst>
            <pc:docMk/>
            <pc:sldMk cId="3580748307" sldId="340"/>
            <ac:picMk id="9" creationId="{EE801CF1-9506-7E55-4EBF-75F6DD2F45E7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23.140" v="61"/>
        <pc:sldMkLst>
          <pc:docMk/>
          <pc:sldMk cId="1282553551" sldId="341"/>
        </pc:sldMkLst>
        <pc:picChg chg="add">
          <ac:chgData name="Julian Ramirez" userId="S::julian.ramirez@gbsb.global::75b83ac6-fa4e-4589-9d0d-2f5734684cec" providerId="AD" clId="Web-{55942F23-A9D2-43C2-37BC-FAED53092DC1}" dt="2025-09-22T08:31:23.140" v="61"/>
          <ac:picMkLst>
            <pc:docMk/>
            <pc:sldMk cId="1282553551" sldId="341"/>
            <ac:picMk id="9" creationId="{6F33E737-868D-7F2B-51CA-71D970A96B42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31.391" v="63"/>
        <pc:sldMkLst>
          <pc:docMk/>
          <pc:sldMk cId="2139097557" sldId="344"/>
        </pc:sldMkLst>
        <pc:picChg chg="add">
          <ac:chgData name="Julian Ramirez" userId="S::julian.ramirez@gbsb.global::75b83ac6-fa4e-4589-9d0d-2f5734684cec" providerId="AD" clId="Web-{55942F23-A9D2-43C2-37BC-FAED53092DC1}" dt="2025-09-22T08:31:31.391" v="63"/>
          <ac:picMkLst>
            <pc:docMk/>
            <pc:sldMk cId="2139097557" sldId="344"/>
            <ac:picMk id="9" creationId="{6C89CB0E-E297-19FB-80EF-8DC6A18EF129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35.580" v="64"/>
        <pc:sldMkLst>
          <pc:docMk/>
          <pc:sldMk cId="2918121405" sldId="346"/>
        </pc:sldMkLst>
        <pc:picChg chg="add">
          <ac:chgData name="Julian Ramirez" userId="S::julian.ramirez@gbsb.global::75b83ac6-fa4e-4589-9d0d-2f5734684cec" providerId="AD" clId="Web-{55942F23-A9D2-43C2-37BC-FAED53092DC1}" dt="2025-09-22T08:31:35.580" v="64"/>
          <ac:picMkLst>
            <pc:docMk/>
            <pc:sldMk cId="2918121405" sldId="346"/>
            <ac:picMk id="9" creationId="{71BC55BC-C235-582C-13B0-C5923593E2B6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48.203" v="67"/>
        <pc:sldMkLst>
          <pc:docMk/>
          <pc:sldMk cId="818035261" sldId="347"/>
        </pc:sldMkLst>
        <pc:picChg chg="add">
          <ac:chgData name="Julian Ramirez" userId="S::julian.ramirez@gbsb.global::75b83ac6-fa4e-4589-9d0d-2f5734684cec" providerId="AD" clId="Web-{55942F23-A9D2-43C2-37BC-FAED53092DC1}" dt="2025-09-22T08:31:48.203" v="67"/>
          <ac:picMkLst>
            <pc:docMk/>
            <pc:sldMk cId="818035261" sldId="347"/>
            <ac:picMk id="7" creationId="{7318484F-20ED-2CF2-3585-AEABA6A797EC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02.406" v="52"/>
        <pc:sldMkLst>
          <pc:docMk/>
          <pc:sldMk cId="3082340084" sldId="409"/>
        </pc:sldMkLst>
        <pc:picChg chg="add">
          <ac:chgData name="Julian Ramirez" userId="S::julian.ramirez@gbsb.global::75b83ac6-fa4e-4589-9d0d-2f5734684cec" providerId="AD" clId="Web-{55942F23-A9D2-43C2-37BC-FAED53092DC1}" dt="2025-09-22T08:31:02.406" v="52"/>
          <ac:picMkLst>
            <pc:docMk/>
            <pc:sldMk cId="3082340084" sldId="409"/>
            <ac:picMk id="9" creationId="{A02FA1B0-7340-5A4E-6F4B-FCA06F62C967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51.594" v="68"/>
        <pc:sldMkLst>
          <pc:docMk/>
          <pc:sldMk cId="3719165346" sldId="410"/>
        </pc:sldMkLst>
        <pc:picChg chg="add">
          <ac:chgData name="Julian Ramirez" userId="S::julian.ramirez@gbsb.global::75b83ac6-fa4e-4589-9d0d-2f5734684cec" providerId="AD" clId="Web-{55942F23-A9D2-43C2-37BC-FAED53092DC1}" dt="2025-09-22T08:31:51.594" v="68"/>
          <ac:picMkLst>
            <pc:docMk/>
            <pc:sldMk cId="3719165346" sldId="410"/>
            <ac:picMk id="7" creationId="{F9DFDDD4-085A-1703-E7DC-747F69796E35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53.985" v="69"/>
        <pc:sldMkLst>
          <pc:docMk/>
          <pc:sldMk cId="3429492500" sldId="411"/>
        </pc:sldMkLst>
        <pc:picChg chg="add">
          <ac:chgData name="Julian Ramirez" userId="S::julian.ramirez@gbsb.global::75b83ac6-fa4e-4589-9d0d-2f5734684cec" providerId="AD" clId="Web-{55942F23-A9D2-43C2-37BC-FAED53092DC1}" dt="2025-09-22T08:31:53.985" v="69"/>
          <ac:picMkLst>
            <pc:docMk/>
            <pc:sldMk cId="3429492500" sldId="411"/>
            <ac:picMk id="7" creationId="{D9F34A41-0340-F88B-8399-37E656269397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0:58.640" v="51"/>
        <pc:sldMkLst>
          <pc:docMk/>
          <pc:sldMk cId="3901614352" sldId="418"/>
        </pc:sldMkLst>
        <pc:picChg chg="add">
          <ac:chgData name="Julian Ramirez" userId="S::julian.ramirez@gbsb.global::75b83ac6-fa4e-4589-9d0d-2f5734684cec" providerId="AD" clId="Web-{55942F23-A9D2-43C2-37BC-FAED53092DC1}" dt="2025-09-22T08:30:58.640" v="51"/>
          <ac:picMkLst>
            <pc:docMk/>
            <pc:sldMk cId="3901614352" sldId="418"/>
            <ac:picMk id="9" creationId="{E2658D0F-E4D6-0B05-0D71-6E6BB30770EB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02.609" v="53"/>
        <pc:sldMkLst>
          <pc:docMk/>
          <pc:sldMk cId="1224261900" sldId="419"/>
        </pc:sldMkLst>
        <pc:picChg chg="add">
          <ac:chgData name="Julian Ramirez" userId="S::julian.ramirez@gbsb.global::75b83ac6-fa4e-4589-9d0d-2f5734684cec" providerId="AD" clId="Web-{55942F23-A9D2-43C2-37BC-FAED53092DC1}" dt="2025-09-22T08:31:02.609" v="53"/>
          <ac:picMkLst>
            <pc:docMk/>
            <pc:sldMk cId="1224261900" sldId="419"/>
            <ac:picMk id="5" creationId="{EF50C4CA-1C6C-DF2D-762D-CD021F18758F}"/>
          </ac:picMkLst>
        </pc:picChg>
      </pc:sldChg>
      <pc:sldChg chg="addSp delSp modSp">
        <pc:chgData name="Julian Ramirez" userId="S::julian.ramirez@gbsb.global::75b83ac6-fa4e-4589-9d0d-2f5734684cec" providerId="AD" clId="Web-{55942F23-A9D2-43C2-37BC-FAED53092DC1}" dt="2025-09-22T08:30:52.376" v="48" actId="1076"/>
        <pc:sldMkLst>
          <pc:docMk/>
          <pc:sldMk cId="173080213" sldId="432"/>
        </pc:sldMkLst>
        <pc:picChg chg="add mod">
          <ac:chgData name="Julian Ramirez" userId="S::julian.ramirez@gbsb.global::75b83ac6-fa4e-4589-9d0d-2f5734684cec" providerId="AD" clId="Web-{55942F23-A9D2-43C2-37BC-FAED53092DC1}" dt="2025-09-22T08:30:52.376" v="48" actId="1076"/>
          <ac:picMkLst>
            <pc:docMk/>
            <pc:sldMk cId="173080213" sldId="432"/>
            <ac:picMk id="12" creationId="{2AB40F48-E0DD-3A58-4E4D-AAC2B4207815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15.203" v="58"/>
        <pc:sldMkLst>
          <pc:docMk/>
          <pc:sldMk cId="2913275587" sldId="436"/>
        </pc:sldMkLst>
        <pc:picChg chg="add">
          <ac:chgData name="Julian Ramirez" userId="S::julian.ramirez@gbsb.global::75b83ac6-fa4e-4589-9d0d-2f5734684cec" providerId="AD" clId="Web-{55942F23-A9D2-43C2-37BC-FAED53092DC1}" dt="2025-09-22T08:31:15.203" v="58"/>
          <ac:picMkLst>
            <pc:docMk/>
            <pc:sldMk cId="2913275587" sldId="436"/>
            <ac:picMk id="10" creationId="{6B0CBFA6-1D62-1CB9-AD0B-5F176C8A90AD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12.047" v="57"/>
        <pc:sldMkLst>
          <pc:docMk/>
          <pc:sldMk cId="10624979" sldId="437"/>
        </pc:sldMkLst>
        <pc:picChg chg="add">
          <ac:chgData name="Julian Ramirez" userId="S::julian.ramirez@gbsb.global::75b83ac6-fa4e-4589-9d0d-2f5734684cec" providerId="AD" clId="Web-{55942F23-A9D2-43C2-37BC-FAED53092DC1}" dt="2025-09-22T08:31:12.047" v="57"/>
          <ac:picMkLst>
            <pc:docMk/>
            <pc:sldMk cId="10624979" sldId="437"/>
            <ac:picMk id="6" creationId="{FBDAF5D9-F291-7943-336A-82D01A04661A}"/>
          </ac:picMkLst>
        </pc:picChg>
      </pc:sldChg>
      <pc:sldChg chg="delSp">
        <pc:chgData name="Julian Ramirez" userId="S::julian.ramirez@gbsb.global::75b83ac6-fa4e-4589-9d0d-2f5734684cec" providerId="AD" clId="Web-{55942F23-A9D2-43C2-37BC-FAED53092DC1}" dt="2025-09-22T08:30:15.999" v="33"/>
        <pc:sldMkLst>
          <pc:docMk/>
          <pc:sldMk cId="3686503773" sldId="438"/>
        </pc:sldMkLst>
      </pc:sldChg>
      <pc:sldChg chg="addSp delSp">
        <pc:chgData name="Julian Ramirez" userId="S::julian.ramirez@gbsb.global::75b83ac6-fa4e-4589-9d0d-2f5734684cec" providerId="AD" clId="Web-{55942F23-A9D2-43C2-37BC-FAED53092DC1}" dt="2025-09-22T08:31:41.938" v="66"/>
        <pc:sldMkLst>
          <pc:docMk/>
          <pc:sldMk cId="1868198123" sldId="440"/>
        </pc:sldMkLst>
        <pc:picChg chg="add">
          <ac:chgData name="Julian Ramirez" userId="S::julian.ramirez@gbsb.global::75b83ac6-fa4e-4589-9d0d-2f5734684cec" providerId="AD" clId="Web-{55942F23-A9D2-43C2-37BC-FAED53092DC1}" dt="2025-09-22T08:31:41.938" v="66"/>
          <ac:picMkLst>
            <pc:docMk/>
            <pc:sldMk cId="1868198123" sldId="440"/>
            <ac:picMk id="9" creationId="{6827B22B-1A0C-B7CB-2FCB-02AA0B5028C9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08.343" v="56"/>
        <pc:sldMkLst>
          <pc:docMk/>
          <pc:sldMk cId="2793741395" sldId="445"/>
        </pc:sldMkLst>
      </pc:sldChg>
      <pc:sldChg chg="addSp delSp">
        <pc:chgData name="Julian Ramirez" userId="S::julian.ramirez@gbsb.global::75b83ac6-fa4e-4589-9d0d-2f5734684cec" providerId="AD" clId="Web-{55942F23-A9D2-43C2-37BC-FAED53092DC1}" dt="2025-09-22T08:31:05.703" v="54"/>
        <pc:sldMkLst>
          <pc:docMk/>
          <pc:sldMk cId="3473906620" sldId="446"/>
        </pc:sldMkLst>
        <pc:picChg chg="add">
          <ac:chgData name="Julian Ramirez" userId="S::julian.ramirez@gbsb.global::75b83ac6-fa4e-4589-9d0d-2f5734684cec" providerId="AD" clId="Web-{55942F23-A9D2-43C2-37BC-FAED53092DC1}" dt="2025-09-22T08:31:05.703" v="54"/>
          <ac:picMkLst>
            <pc:docMk/>
            <pc:sldMk cId="3473906620" sldId="446"/>
            <ac:picMk id="6" creationId="{54A6D516-22AB-B443-94AE-214286E65161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26.250" v="62"/>
        <pc:sldMkLst>
          <pc:docMk/>
          <pc:sldMk cId="2122469410" sldId="447"/>
        </pc:sldMkLst>
        <pc:picChg chg="add">
          <ac:chgData name="Julian Ramirez" userId="S::julian.ramirez@gbsb.global::75b83ac6-fa4e-4589-9d0d-2f5734684cec" providerId="AD" clId="Web-{55942F23-A9D2-43C2-37BC-FAED53092DC1}" dt="2025-09-22T08:31:26.250" v="62"/>
          <ac:picMkLst>
            <pc:docMk/>
            <pc:sldMk cId="2122469410" sldId="447"/>
            <ac:picMk id="6" creationId="{B212A897-DF9F-2001-4099-CAB2956E75DA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58.157" v="70"/>
        <pc:sldMkLst>
          <pc:docMk/>
          <pc:sldMk cId="2946482314" sldId="453"/>
        </pc:sldMkLst>
        <pc:picChg chg="add">
          <ac:chgData name="Julian Ramirez" userId="S::julian.ramirez@gbsb.global::75b83ac6-fa4e-4589-9d0d-2f5734684cec" providerId="AD" clId="Web-{55942F23-A9D2-43C2-37BC-FAED53092DC1}" dt="2025-09-22T08:31:58.157" v="70"/>
          <ac:picMkLst>
            <pc:docMk/>
            <pc:sldMk cId="2946482314" sldId="453"/>
            <ac:picMk id="6" creationId="{E071F0E2-8B70-9098-B3E4-FE16A9516BA5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1:59.344" v="71"/>
        <pc:sldMkLst>
          <pc:docMk/>
          <pc:sldMk cId="686025792" sldId="454"/>
        </pc:sldMkLst>
        <pc:picChg chg="add">
          <ac:chgData name="Julian Ramirez" userId="S::julian.ramirez@gbsb.global::75b83ac6-fa4e-4589-9d0d-2f5734684cec" providerId="AD" clId="Web-{55942F23-A9D2-43C2-37BC-FAED53092DC1}" dt="2025-09-22T08:31:59.344" v="71"/>
          <ac:picMkLst>
            <pc:docMk/>
            <pc:sldMk cId="686025792" sldId="454"/>
            <ac:picMk id="6" creationId="{C8DDBFC9-79F7-F657-A083-E7C40568A050}"/>
          </ac:picMkLst>
        </pc:picChg>
      </pc:sldChg>
      <pc:sldChg chg="addSp delSp modSp">
        <pc:chgData name="Julian Ramirez" userId="S::julian.ramirez@gbsb.global::75b83ac6-fa4e-4589-9d0d-2f5734684cec" providerId="AD" clId="Web-{55942F23-A9D2-43C2-37BC-FAED53092DC1}" dt="2025-09-22T08:28:36.934" v="2" actId="1076"/>
        <pc:sldMkLst>
          <pc:docMk/>
          <pc:sldMk cId="3481773225" sldId="459"/>
        </pc:sldMkLst>
        <pc:picChg chg="add mod">
          <ac:chgData name="Julian Ramirez" userId="S::julian.ramirez@gbsb.global::75b83ac6-fa4e-4589-9d0d-2f5734684cec" providerId="AD" clId="Web-{55942F23-A9D2-43C2-37BC-FAED53092DC1}" dt="2025-09-22T08:28:36.934" v="2" actId="1076"/>
          <ac:picMkLst>
            <pc:docMk/>
            <pc:sldMk cId="3481773225" sldId="459"/>
            <ac:picMk id="5" creationId="{0297BC16-B98E-AD62-0E14-CC3188A43A48}"/>
          </ac:picMkLst>
        </pc:picChg>
      </pc:sldChg>
      <pc:sldChg chg="addSp modSp">
        <pc:chgData name="Julian Ramirez" userId="S::julian.ramirez@gbsb.global::75b83ac6-fa4e-4589-9d0d-2f5734684cec" providerId="AD" clId="Web-{55942F23-A9D2-43C2-37BC-FAED53092DC1}" dt="2025-09-22T08:32:00.797" v="72"/>
        <pc:sldMkLst>
          <pc:docMk/>
          <pc:sldMk cId="4249888045" sldId="461"/>
        </pc:sldMkLst>
        <pc:picChg chg="mod">
          <ac:chgData name="Julian Ramirez" userId="S::julian.ramirez@gbsb.global::75b83ac6-fa4e-4589-9d0d-2f5734684cec" providerId="AD" clId="Web-{55942F23-A9D2-43C2-37BC-FAED53092DC1}" dt="2025-09-22T08:30:36.765" v="44" actId="1076"/>
          <ac:picMkLst>
            <pc:docMk/>
            <pc:sldMk cId="4249888045" sldId="461"/>
            <ac:picMk id="6" creationId="{EC886747-9260-4A1A-9D43-D276C21241D1}"/>
          </ac:picMkLst>
        </pc:picChg>
        <pc:picChg chg="add">
          <ac:chgData name="Julian Ramirez" userId="S::julian.ramirez@gbsb.global::75b83ac6-fa4e-4589-9d0d-2f5734684cec" providerId="AD" clId="Web-{55942F23-A9D2-43C2-37BC-FAED53092DC1}" dt="2025-09-22T08:32:00.797" v="72"/>
          <ac:picMkLst>
            <pc:docMk/>
            <pc:sldMk cId="4249888045" sldId="461"/>
            <ac:picMk id="7" creationId="{FFD7C8D8-6C69-D510-AD61-2020420DB48C}"/>
          </ac:picMkLst>
        </pc:picChg>
      </pc:sldChg>
      <pc:sldChg chg="addSp delSp modSp">
        <pc:chgData name="Julian Ramirez" userId="S::julian.ramirez@gbsb.global::75b83ac6-fa4e-4589-9d0d-2f5734684cec" providerId="AD" clId="Web-{55942F23-A9D2-43C2-37BC-FAED53092DC1}" dt="2025-09-22T08:30:56.218" v="50" actId="1076"/>
        <pc:sldMkLst>
          <pc:docMk/>
          <pc:sldMk cId="4277119441" sldId="466"/>
        </pc:sldMkLst>
        <pc:picChg chg="add mod">
          <ac:chgData name="Julian Ramirez" userId="S::julian.ramirez@gbsb.global::75b83ac6-fa4e-4589-9d0d-2f5734684cec" providerId="AD" clId="Web-{55942F23-A9D2-43C2-37BC-FAED53092DC1}" dt="2025-09-22T08:30:56.218" v="50" actId="1076"/>
          <ac:picMkLst>
            <pc:docMk/>
            <pc:sldMk cId="4277119441" sldId="466"/>
            <ac:picMk id="7" creationId="{D69AFB8E-32E6-901D-E2F2-A0B6E5379291}"/>
          </ac:picMkLst>
        </pc:picChg>
      </pc:sldChg>
      <pc:sldChg chg="addSp delSp">
        <pc:chgData name="Julian Ramirez" userId="S::julian.ramirez@gbsb.global::75b83ac6-fa4e-4589-9d0d-2f5734684cec" providerId="AD" clId="Web-{55942F23-A9D2-43C2-37BC-FAED53092DC1}" dt="2025-09-22T08:32:02.625" v="73"/>
        <pc:sldMkLst>
          <pc:docMk/>
          <pc:sldMk cId="707224619" sldId="470"/>
        </pc:sldMkLst>
        <pc:picChg chg="add">
          <ac:chgData name="Julian Ramirez" userId="S::julian.ramirez@gbsb.global::75b83ac6-fa4e-4589-9d0d-2f5734684cec" providerId="AD" clId="Web-{55942F23-A9D2-43C2-37BC-FAED53092DC1}" dt="2025-09-22T08:32:02.625" v="73"/>
          <ac:picMkLst>
            <pc:docMk/>
            <pc:sldMk cId="707224619" sldId="470"/>
            <ac:picMk id="6" creationId="{0AE5CF59-CF36-AE13-8961-1DA52F273B89}"/>
          </ac:picMkLst>
        </pc:picChg>
      </pc:sldChg>
    </pc:docChg>
  </pc:docChgLst>
  <pc:docChgLst>
    <pc:chgData name="Xavier Arola" userId="7602816b-230a-426e-8eaf-9f7c32eee040" providerId="ADAL" clId="{0226BE8E-0165-4CAE-B913-FAF9334DE81A}"/>
    <pc:docChg chg="undo custSel addSld delSld modSld sldOrd">
      <pc:chgData name="Xavier Arola" userId="7602816b-230a-426e-8eaf-9f7c32eee040" providerId="ADAL" clId="{0226BE8E-0165-4CAE-B913-FAF9334DE81A}" dt="2025-09-25T09:30:09.881" v="142" actId="14100"/>
      <pc:docMkLst>
        <pc:docMk/>
      </pc:docMkLst>
      <pc:sldChg chg="del">
        <pc:chgData name="Xavier Arola" userId="7602816b-230a-426e-8eaf-9f7c32eee040" providerId="ADAL" clId="{0226BE8E-0165-4CAE-B913-FAF9334DE81A}" dt="2025-09-22T09:48:04.470" v="10" actId="47"/>
        <pc:sldMkLst>
          <pc:docMk/>
          <pc:sldMk cId="0" sldId="310"/>
        </pc:sldMkLst>
      </pc:sldChg>
      <pc:sldChg chg="del">
        <pc:chgData name="Xavier Arola" userId="7602816b-230a-426e-8eaf-9f7c32eee040" providerId="ADAL" clId="{0226BE8E-0165-4CAE-B913-FAF9334DE81A}" dt="2025-09-22T09:39:47.023" v="0" actId="47"/>
        <pc:sldMkLst>
          <pc:docMk/>
          <pc:sldMk cId="4137926027" sldId="334"/>
        </pc:sldMkLst>
      </pc:sldChg>
      <pc:sldChg chg="add">
        <pc:chgData name="Xavier Arola" userId="7602816b-230a-426e-8eaf-9f7c32eee040" providerId="ADAL" clId="{0226BE8E-0165-4CAE-B913-FAF9334DE81A}" dt="2025-09-22T09:46:16.081" v="5"/>
        <pc:sldMkLst>
          <pc:docMk/>
          <pc:sldMk cId="1386554013" sldId="354"/>
        </pc:sldMkLst>
      </pc:sldChg>
      <pc:sldChg chg="add del">
        <pc:chgData name="Xavier Arola" userId="7602816b-230a-426e-8eaf-9f7c32eee040" providerId="ADAL" clId="{0226BE8E-0165-4CAE-B913-FAF9334DE81A}" dt="2025-09-22T09:44:08.584" v="4" actId="47"/>
        <pc:sldMkLst>
          <pc:docMk/>
          <pc:sldMk cId="384609573" sldId="412"/>
        </pc:sldMkLst>
      </pc:sldChg>
      <pc:sldChg chg="add del">
        <pc:chgData name="Xavier Arola" userId="7602816b-230a-426e-8eaf-9f7c32eee040" providerId="ADAL" clId="{0226BE8E-0165-4CAE-B913-FAF9334DE81A}" dt="2025-09-22T09:46:38.794" v="6" actId="2696"/>
        <pc:sldMkLst>
          <pc:docMk/>
          <pc:sldMk cId="2789340564" sldId="413"/>
        </pc:sldMkLst>
      </pc:sldChg>
      <pc:sldChg chg="add">
        <pc:chgData name="Xavier Arola" userId="7602816b-230a-426e-8eaf-9f7c32eee040" providerId="ADAL" clId="{0226BE8E-0165-4CAE-B913-FAF9334DE81A}" dt="2025-09-22T09:46:56.390" v="7"/>
        <pc:sldMkLst>
          <pc:docMk/>
          <pc:sldMk cId="3088354296" sldId="413"/>
        </pc:sldMkLst>
      </pc:sldChg>
      <pc:sldChg chg="add">
        <pc:chgData name="Xavier Arola" userId="7602816b-230a-426e-8eaf-9f7c32eee040" providerId="ADAL" clId="{0226BE8E-0165-4CAE-B913-FAF9334DE81A}" dt="2025-09-22T09:46:56.390" v="7"/>
        <pc:sldMkLst>
          <pc:docMk/>
          <pc:sldMk cId="3033812359" sldId="414"/>
        </pc:sldMkLst>
      </pc:sldChg>
      <pc:sldChg chg="add del">
        <pc:chgData name="Xavier Arola" userId="7602816b-230a-426e-8eaf-9f7c32eee040" providerId="ADAL" clId="{0226BE8E-0165-4CAE-B913-FAF9334DE81A}" dt="2025-09-22T09:46:38.794" v="6" actId="2696"/>
        <pc:sldMkLst>
          <pc:docMk/>
          <pc:sldMk cId="4245392398" sldId="414"/>
        </pc:sldMkLst>
      </pc:sldChg>
      <pc:sldChg chg="addSp modSp add mod">
        <pc:chgData name="Xavier Arola" userId="7602816b-230a-426e-8eaf-9f7c32eee040" providerId="ADAL" clId="{0226BE8E-0165-4CAE-B913-FAF9334DE81A}" dt="2025-09-25T08:46:40.573" v="80"/>
        <pc:sldMkLst>
          <pc:docMk/>
          <pc:sldMk cId="3134355757" sldId="415"/>
        </pc:sldMkLst>
        <pc:spChg chg="mod">
          <ac:chgData name="Xavier Arola" userId="7602816b-230a-426e-8eaf-9f7c32eee040" providerId="ADAL" clId="{0226BE8E-0165-4CAE-B913-FAF9334DE81A}" dt="2025-09-25T08:34:32.305" v="33" actId="115"/>
          <ac:spMkLst>
            <pc:docMk/>
            <pc:sldMk cId="3134355757" sldId="415"/>
            <ac:spMk id="4" creationId="{C96DD53E-0DF1-459C-A325-AB1131EF82F7}"/>
          </ac:spMkLst>
        </pc:spChg>
        <pc:graphicFrameChg chg="add mod">
          <ac:chgData name="Xavier Arola" userId="7602816b-230a-426e-8eaf-9f7c32eee040" providerId="ADAL" clId="{0226BE8E-0165-4CAE-B913-FAF9334DE81A}" dt="2025-09-25T08:46:40.573" v="80"/>
          <ac:graphicFrameMkLst>
            <pc:docMk/>
            <pc:sldMk cId="3134355757" sldId="415"/>
            <ac:graphicFrameMk id="6" creationId="{98BF5D61-31FA-8BC8-DFFB-337B9D42381B}"/>
          </ac:graphicFrameMkLst>
        </pc:graphicFrameChg>
      </pc:sldChg>
      <pc:sldChg chg="add">
        <pc:chgData name="Xavier Arola" userId="7602816b-230a-426e-8eaf-9f7c32eee040" providerId="ADAL" clId="{0226BE8E-0165-4CAE-B913-FAF9334DE81A}" dt="2025-09-22T09:40:05.684" v="1"/>
        <pc:sldMkLst>
          <pc:docMk/>
          <pc:sldMk cId="2845506115" sldId="416"/>
        </pc:sldMkLst>
      </pc:sldChg>
      <pc:sldChg chg="modSp add mod">
        <pc:chgData name="Xavier Arola" userId="7602816b-230a-426e-8eaf-9f7c32eee040" providerId="ADAL" clId="{0226BE8E-0165-4CAE-B913-FAF9334DE81A}" dt="2025-09-25T08:44:36.993" v="76" actId="20577"/>
        <pc:sldMkLst>
          <pc:docMk/>
          <pc:sldMk cId="2469943450" sldId="431"/>
        </pc:sldMkLst>
        <pc:spChg chg="mod">
          <ac:chgData name="Xavier Arola" userId="7602816b-230a-426e-8eaf-9f7c32eee040" providerId="ADAL" clId="{0226BE8E-0165-4CAE-B913-FAF9334DE81A}" dt="2025-09-25T08:44:36.993" v="76" actId="20577"/>
          <ac:spMkLst>
            <pc:docMk/>
            <pc:sldMk cId="2469943450" sldId="431"/>
            <ac:spMk id="4" creationId="{C96DD53E-0DF1-459C-A325-AB1131EF82F7}"/>
          </ac:spMkLst>
        </pc:spChg>
      </pc:sldChg>
      <pc:sldChg chg="add">
        <pc:chgData name="Xavier Arola" userId="7602816b-230a-426e-8eaf-9f7c32eee040" providerId="ADAL" clId="{0226BE8E-0165-4CAE-B913-FAF9334DE81A}" dt="2025-09-22T09:40:05.684" v="1"/>
        <pc:sldMkLst>
          <pc:docMk/>
          <pc:sldMk cId="3293124675" sldId="439"/>
        </pc:sldMkLst>
      </pc:sldChg>
      <pc:sldChg chg="add del">
        <pc:chgData name="Xavier Arola" userId="7602816b-230a-426e-8eaf-9f7c32eee040" providerId="ADAL" clId="{0226BE8E-0165-4CAE-B913-FAF9334DE81A}" dt="2025-09-22T09:44:08.584" v="4" actId="47"/>
        <pc:sldMkLst>
          <pc:docMk/>
          <pc:sldMk cId="4075857214" sldId="456"/>
        </pc:sldMkLst>
      </pc:sldChg>
      <pc:sldChg chg="add">
        <pc:chgData name="Xavier Arola" userId="7602816b-230a-426e-8eaf-9f7c32eee040" providerId="ADAL" clId="{0226BE8E-0165-4CAE-B913-FAF9334DE81A}" dt="2025-09-22T09:46:16.081" v="5"/>
        <pc:sldMkLst>
          <pc:docMk/>
          <pc:sldMk cId="3202451666" sldId="457"/>
        </pc:sldMkLst>
      </pc:sldChg>
      <pc:sldChg chg="add del">
        <pc:chgData name="Xavier Arola" userId="7602816b-230a-426e-8eaf-9f7c32eee040" providerId="ADAL" clId="{0226BE8E-0165-4CAE-B913-FAF9334DE81A}" dt="2025-09-22T09:46:38.794" v="6" actId="2696"/>
        <pc:sldMkLst>
          <pc:docMk/>
          <pc:sldMk cId="2238943702" sldId="465"/>
        </pc:sldMkLst>
      </pc:sldChg>
      <pc:sldChg chg="add">
        <pc:chgData name="Xavier Arola" userId="7602816b-230a-426e-8eaf-9f7c32eee040" providerId="ADAL" clId="{0226BE8E-0165-4CAE-B913-FAF9334DE81A}" dt="2025-09-22T09:46:56.390" v="7"/>
        <pc:sldMkLst>
          <pc:docMk/>
          <pc:sldMk cId="2925310280" sldId="465"/>
        </pc:sldMkLst>
      </pc:sldChg>
      <pc:sldChg chg="ord">
        <pc:chgData name="Xavier Arola" userId="7602816b-230a-426e-8eaf-9f7c32eee040" providerId="ADAL" clId="{0226BE8E-0165-4CAE-B913-FAF9334DE81A}" dt="2025-09-25T08:39:13.747" v="47"/>
        <pc:sldMkLst>
          <pc:docMk/>
          <pc:sldMk cId="4277119441" sldId="466"/>
        </pc:sldMkLst>
      </pc:sldChg>
      <pc:sldChg chg="add">
        <pc:chgData name="Xavier Arola" userId="7602816b-230a-426e-8eaf-9f7c32eee040" providerId="ADAL" clId="{0226BE8E-0165-4CAE-B913-FAF9334DE81A}" dt="2025-09-22T09:46:16.081" v="5"/>
        <pc:sldMkLst>
          <pc:docMk/>
          <pc:sldMk cId="2059799674" sldId="467"/>
        </pc:sldMkLst>
      </pc:sldChg>
      <pc:sldChg chg="add">
        <pc:chgData name="Xavier Arola" userId="7602816b-230a-426e-8eaf-9f7c32eee040" providerId="ADAL" clId="{0226BE8E-0165-4CAE-B913-FAF9334DE81A}" dt="2025-09-22T09:46:16.081" v="5"/>
        <pc:sldMkLst>
          <pc:docMk/>
          <pc:sldMk cId="3251952164" sldId="468"/>
        </pc:sldMkLst>
      </pc:sldChg>
      <pc:sldChg chg="add">
        <pc:chgData name="Xavier Arola" userId="7602816b-230a-426e-8eaf-9f7c32eee040" providerId="ADAL" clId="{0226BE8E-0165-4CAE-B913-FAF9334DE81A}" dt="2025-09-22T09:46:16.081" v="5"/>
        <pc:sldMkLst>
          <pc:docMk/>
          <pc:sldMk cId="111355369" sldId="469"/>
        </pc:sldMkLst>
      </pc:sldChg>
      <pc:sldChg chg="add">
        <pc:chgData name="Xavier Arola" userId="7602816b-230a-426e-8eaf-9f7c32eee040" providerId="ADAL" clId="{0226BE8E-0165-4CAE-B913-FAF9334DE81A}" dt="2025-09-22T09:47:27.957" v="8"/>
        <pc:sldMkLst>
          <pc:docMk/>
          <pc:sldMk cId="851113945" sldId="471"/>
        </pc:sldMkLst>
      </pc:sldChg>
      <pc:sldChg chg="add">
        <pc:chgData name="Xavier Arola" userId="7602816b-230a-426e-8eaf-9f7c32eee040" providerId="ADAL" clId="{0226BE8E-0165-4CAE-B913-FAF9334DE81A}" dt="2025-09-22T09:48:01.139" v="9"/>
        <pc:sldMkLst>
          <pc:docMk/>
          <pc:sldMk cId="3819667448" sldId="472"/>
        </pc:sldMkLst>
      </pc:sldChg>
      <pc:sldChg chg="addSp delSp modSp add mod">
        <pc:chgData name="Xavier Arola" userId="7602816b-230a-426e-8eaf-9f7c32eee040" providerId="ADAL" clId="{0226BE8E-0165-4CAE-B913-FAF9334DE81A}" dt="2025-09-25T08:37:48.021" v="45" actId="1076"/>
        <pc:sldMkLst>
          <pc:docMk/>
          <pc:sldMk cId="3918866450" sldId="473"/>
        </pc:sldMkLst>
        <pc:spChg chg="mod">
          <ac:chgData name="Xavier Arola" userId="7602816b-230a-426e-8eaf-9f7c32eee040" providerId="ADAL" clId="{0226BE8E-0165-4CAE-B913-FAF9334DE81A}" dt="2025-09-25T08:36:50.960" v="40" actId="20577"/>
          <ac:spMkLst>
            <pc:docMk/>
            <pc:sldMk cId="3918866450" sldId="473"/>
            <ac:spMk id="4" creationId="{87221DE7-3189-5924-8065-6C925B21629F}"/>
          </ac:spMkLst>
        </pc:spChg>
        <pc:spChg chg="del">
          <ac:chgData name="Xavier Arola" userId="7602816b-230a-426e-8eaf-9f7c32eee040" providerId="ADAL" clId="{0226BE8E-0165-4CAE-B913-FAF9334DE81A}" dt="2025-09-25T08:37:44.286" v="44" actId="478"/>
          <ac:spMkLst>
            <pc:docMk/>
            <pc:sldMk cId="3918866450" sldId="473"/>
            <ac:spMk id="10" creationId="{08CF3CB8-4A31-A7B6-0B71-08BE5F9127EA}"/>
          </ac:spMkLst>
        </pc:spChg>
        <pc:graphicFrameChg chg="add mod">
          <ac:chgData name="Xavier Arola" userId="7602816b-230a-426e-8eaf-9f7c32eee040" providerId="ADAL" clId="{0226BE8E-0165-4CAE-B913-FAF9334DE81A}" dt="2025-09-25T08:37:48.021" v="45" actId="1076"/>
          <ac:graphicFrameMkLst>
            <pc:docMk/>
            <pc:sldMk cId="3918866450" sldId="473"/>
            <ac:graphicFrameMk id="6" creationId="{8F9DF1C9-4D7F-F3D7-0017-C35291FD6D80}"/>
          </ac:graphicFrameMkLst>
        </pc:graphicFrameChg>
        <pc:picChg chg="del">
          <ac:chgData name="Xavier Arola" userId="7602816b-230a-426e-8eaf-9f7c32eee040" providerId="ADAL" clId="{0226BE8E-0165-4CAE-B913-FAF9334DE81A}" dt="2025-09-25T08:36:41.834" v="35" actId="478"/>
          <ac:picMkLst>
            <pc:docMk/>
            <pc:sldMk cId="3918866450" sldId="473"/>
            <ac:picMk id="5" creationId="{2DA6246B-A26B-F2D5-1FA8-2BF2DB6EB4BF}"/>
          </ac:picMkLst>
        </pc:picChg>
      </pc:sldChg>
      <pc:sldChg chg="addSp delSp modSp add mod">
        <pc:chgData name="Xavier Arola" userId="7602816b-230a-426e-8eaf-9f7c32eee040" providerId="ADAL" clId="{0226BE8E-0165-4CAE-B913-FAF9334DE81A}" dt="2025-09-25T09:30:09.881" v="142" actId="14100"/>
        <pc:sldMkLst>
          <pc:docMk/>
          <pc:sldMk cId="658776086" sldId="474"/>
        </pc:sldMkLst>
        <pc:spChg chg="mod">
          <ac:chgData name="Xavier Arola" userId="7602816b-230a-426e-8eaf-9f7c32eee040" providerId="ADAL" clId="{0226BE8E-0165-4CAE-B913-FAF9334DE81A}" dt="2025-09-25T09:28:24.239" v="125" actId="20577"/>
          <ac:spMkLst>
            <pc:docMk/>
            <pc:sldMk cId="658776086" sldId="474"/>
            <ac:spMk id="4" creationId="{A035D4D0-1D09-1C25-2D96-015A5997B9B1}"/>
          </ac:spMkLst>
        </pc:spChg>
        <pc:graphicFrameChg chg="add del mod">
          <ac:chgData name="Xavier Arola" userId="7602816b-230a-426e-8eaf-9f7c32eee040" providerId="ADAL" clId="{0226BE8E-0165-4CAE-B913-FAF9334DE81A}" dt="2025-09-25T09:29:29.256" v="137" actId="478"/>
          <ac:graphicFrameMkLst>
            <pc:docMk/>
            <pc:sldMk cId="658776086" sldId="474"/>
            <ac:graphicFrameMk id="5" creationId="{3C7363AA-D387-008E-2465-25B07092739E}"/>
          </ac:graphicFrameMkLst>
        </pc:graphicFrameChg>
        <pc:graphicFrameChg chg="del">
          <ac:chgData name="Xavier Arola" userId="7602816b-230a-426e-8eaf-9f7c32eee040" providerId="ADAL" clId="{0226BE8E-0165-4CAE-B913-FAF9334DE81A}" dt="2025-09-25T08:47:08.654" v="121" actId="478"/>
          <ac:graphicFrameMkLst>
            <pc:docMk/>
            <pc:sldMk cId="658776086" sldId="474"/>
            <ac:graphicFrameMk id="6" creationId="{36B25403-D92C-E5ED-C0B9-152A13CC4C7E}"/>
          </ac:graphicFrameMkLst>
        </pc:graphicFrameChg>
        <pc:picChg chg="add mod">
          <ac:chgData name="Xavier Arola" userId="7602816b-230a-426e-8eaf-9f7c32eee040" providerId="ADAL" clId="{0226BE8E-0165-4CAE-B913-FAF9334DE81A}" dt="2025-09-25T09:30:09.881" v="142" actId="14100"/>
          <ac:picMkLst>
            <pc:docMk/>
            <pc:sldMk cId="658776086" sldId="474"/>
            <ac:picMk id="7" creationId="{523C3025-3283-D513-2C4F-D8229F8B528F}"/>
          </ac:picMkLst>
        </pc:picChg>
        <pc:picChg chg="add mod">
          <ac:chgData name="Xavier Arola" userId="7602816b-230a-426e-8eaf-9f7c32eee040" providerId="ADAL" clId="{0226BE8E-0165-4CAE-B913-FAF9334DE81A}" dt="2025-09-25T09:29:44.877" v="139" actId="14100"/>
          <ac:picMkLst>
            <pc:docMk/>
            <pc:sldMk cId="658776086" sldId="474"/>
            <ac:picMk id="9" creationId="{4604E6B6-D7FF-D5CD-0906-25F31D78DAB7}"/>
          </ac:picMkLst>
        </pc:picChg>
      </pc:sldChg>
      <pc:sldChg chg="add del">
        <pc:chgData name="Xavier Arola" userId="7602816b-230a-426e-8eaf-9f7c32eee040" providerId="ADAL" clId="{0226BE8E-0165-4CAE-B913-FAF9334DE81A}" dt="2025-09-25T08:46:38.036" v="79"/>
        <pc:sldMkLst>
          <pc:docMk/>
          <pc:sldMk cId="1365864731" sldId="474"/>
        </pc:sldMkLst>
      </pc:sldChg>
      <pc:sldChg chg="add del">
        <pc:chgData name="Xavier Arola" userId="7602816b-230a-426e-8eaf-9f7c32eee040" providerId="ADAL" clId="{0226BE8E-0165-4CAE-B913-FAF9334DE81A}" dt="2025-09-25T08:47:15.024" v="123"/>
        <pc:sldMkLst>
          <pc:docMk/>
          <pc:sldMk cId="3739775306" sldId="475"/>
        </pc:sldMkLst>
      </pc:sldChg>
      <pc:sldMasterChg chg="delSldLayout">
        <pc:chgData name="Xavier Arola" userId="7602816b-230a-426e-8eaf-9f7c32eee040" providerId="ADAL" clId="{0226BE8E-0165-4CAE-B913-FAF9334DE81A}" dt="2025-09-22T09:48:04.470" v="10" actId="47"/>
        <pc:sldMasterMkLst>
          <pc:docMk/>
          <pc:sldMasterMk cId="3074658832" sldId="2147483648"/>
        </pc:sldMasterMkLst>
        <pc:sldLayoutChg chg="del">
          <pc:chgData name="Xavier Arola" userId="7602816b-230a-426e-8eaf-9f7c32eee040" providerId="ADAL" clId="{0226BE8E-0165-4CAE-B913-FAF9334DE81A}" dt="2025-09-22T09:48:04.470" v="10" actId="47"/>
          <pc:sldLayoutMkLst>
            <pc:docMk/>
            <pc:sldMasterMk cId="3074658832" sldId="2147483648"/>
            <pc:sldLayoutMk cId="1892069203" sldId="214748368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B8636D-155D-44E4-A4C6-118CBE8ED44B}" type="datetimeFigureOut">
              <a:rPr lang="es-ES" smtClean="0"/>
              <a:t>25/09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17F8E-B589-4507-957E-F73517039CD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8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402A46FC-E0A6-4849-A9A1-27499CF76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85405" y="6261264"/>
            <a:ext cx="9144" cy="37185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3321D947-E9F2-4156-83AB-FDAF8EFAAD52}"/>
              </a:ext>
            </a:extLst>
          </p:cNvPr>
          <p:cNvSpPr txBox="1"/>
          <p:nvPr userDrawn="1"/>
        </p:nvSpPr>
        <p:spPr>
          <a:xfrm>
            <a:off x="9994549" y="6294567"/>
            <a:ext cx="3643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49AB555-5BA7-4C48-930B-DF75E39B2F06}"/>
              </a:ext>
            </a:extLst>
          </p:cNvPr>
          <p:cNvSpPr txBox="1"/>
          <p:nvPr userDrawn="1"/>
        </p:nvSpPr>
        <p:spPr>
          <a:xfrm>
            <a:off x="7460022" y="6312064"/>
            <a:ext cx="2813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Madrid Campus: C/Numancia, 6 28039 Madrid</a:t>
            </a:r>
          </a:p>
          <a:p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Barcelona Campus: C/</a:t>
            </a:r>
            <a:r>
              <a:rPr lang="es-ES" sz="800" err="1">
                <a:latin typeface="Arial" panose="020B0604020202020204" pitchFamily="34" charset="0"/>
                <a:cs typeface="Arial" panose="020B0604020202020204" pitchFamily="34" charset="0"/>
              </a:rPr>
              <a:t>Aragó</a:t>
            </a:r>
            <a:r>
              <a:rPr lang="es-ES" sz="800">
                <a:latin typeface="Arial" panose="020B0604020202020204" pitchFamily="34" charset="0"/>
                <a:cs typeface="Arial" panose="020B0604020202020204" pitchFamily="34" charset="0"/>
              </a:rPr>
              <a:t>, 179 08011 Barcelona</a:t>
            </a:r>
            <a:endParaRPr lang="en-GB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020E1B2-7CC9-44E0-9D2F-9893007631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0832" y="6196510"/>
            <a:ext cx="1031529" cy="45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62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9977410-775D-41E1-A1CC-5439A11EE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800301E-41D6-45B7-BA16-AA49EAC8C7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C3490FE-96DD-4FC4-B8E8-9730183D51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50923A2-69C6-4C83-A6DE-03A173C4F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E9EFFB4-79BF-4240-9153-F043A7FE1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4185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8686289-819F-49AA-8DED-7FEE3E4E3F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754D067-A68A-4DC4-A84D-D444BEA558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C05CEEF-3194-4A36-B649-4A0A9CA88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ABC0D1A-8DDC-4990-BA7F-5E20BEE85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FBCE478-C962-42E3-B774-DDE049353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385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503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334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97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007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844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168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636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817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BD1383-A146-4EAD-B03B-FF8D856EE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222FB34-34D7-4A13-B956-D882F29072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AF97BC-4AAB-4023-AC61-4763BD322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D809D62-D659-4D0A-82AD-4CF49005C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2B12030-523B-4C91-9DC0-4F0451296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580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980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06164" y="1363822"/>
            <a:ext cx="9144000" cy="82378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266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r>
              <a:rPr lang="ro-RO"/>
              <a:t>Lorem ipsum dolor sit amet consectetur adipiscing elit </a:t>
            </a:r>
            <a:br>
              <a:rPr lang="ro-RO"/>
            </a:br>
            <a:r>
              <a:rPr lang="ro-RO"/>
              <a:t>donecvel arcu arcu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906165" y="2419651"/>
            <a:ext cx="9143999" cy="1351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. </a:t>
            </a:r>
            <a:r>
              <a:rPr lang="es-ES" err="1"/>
              <a:t>Phasellus</a:t>
            </a:r>
            <a:r>
              <a:rPr lang="es-ES"/>
              <a:t> </a:t>
            </a:r>
            <a:r>
              <a:rPr lang="es-ES" err="1"/>
              <a:t>ultricies</a:t>
            </a:r>
            <a:r>
              <a:rPr lang="es-ES"/>
              <a:t> ultrices mi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per</a:t>
            </a:r>
            <a:r>
              <a:rPr lang="es-ES"/>
              <a:t>. </a:t>
            </a:r>
            <a:r>
              <a:rPr lang="es-ES" err="1"/>
              <a:t>Maecena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e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osuere</a:t>
            </a:r>
            <a:r>
              <a:rPr lang="es-ES"/>
              <a:t>. </a:t>
            </a:r>
            <a:r>
              <a:rPr lang="es-ES" err="1"/>
              <a:t>Donec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, </a:t>
            </a:r>
            <a:r>
              <a:rPr lang="es-ES" err="1"/>
              <a:t>efficitur</a:t>
            </a:r>
            <a:r>
              <a:rPr lang="es-ES"/>
              <a:t> dolor at, </a:t>
            </a:r>
            <a:r>
              <a:rPr lang="es-ES" err="1"/>
              <a:t>laoreet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urna </a:t>
            </a:r>
            <a:r>
              <a:rPr lang="es-ES" err="1"/>
              <a:t>tempus</a:t>
            </a:r>
            <a:r>
              <a:rPr lang="es-ES"/>
              <a:t> </a:t>
            </a:r>
            <a:r>
              <a:rPr lang="es-ES" err="1"/>
              <a:t>purus</a:t>
            </a:r>
            <a:r>
              <a:rPr lang="es-ES"/>
              <a:t>. </a:t>
            </a: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 hasCustomPrompt="1"/>
          </p:nvPr>
        </p:nvSpPr>
        <p:spPr>
          <a:xfrm>
            <a:off x="906163" y="3505649"/>
            <a:ext cx="9144000" cy="183979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 marL="0" indent="0">
              <a:lnSpc>
                <a:spcPts val="1653"/>
              </a:lnSpc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 </a:t>
            </a:r>
            <a:r>
              <a:rPr lang="pt-BR" err="1"/>
              <a:t>arcu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mi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semper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quis </a:t>
            </a:r>
            <a:r>
              <a:rPr lang="pt-BR" err="1"/>
              <a:t>arcu</a:t>
            </a:r>
            <a:r>
              <a:rPr lang="pt-BR"/>
              <a:t> eu urna tempus </a:t>
            </a:r>
            <a:r>
              <a:rPr lang="pt-BR" err="1"/>
              <a:t>posuere</a:t>
            </a:r>
            <a:r>
              <a:rPr lang="pt-BR"/>
              <a:t>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sem </a:t>
            </a:r>
            <a:r>
              <a:rPr lang="pt-BR" err="1"/>
              <a:t>euismod</a:t>
            </a:r>
            <a:r>
              <a:rPr lang="pt-BR"/>
              <a:t>, </a:t>
            </a:r>
            <a:r>
              <a:rPr lang="pt-BR" err="1"/>
              <a:t>efficitur</a:t>
            </a:r>
            <a:r>
              <a:rPr lang="pt-BR"/>
              <a:t>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, </a:t>
            </a:r>
            <a:r>
              <a:rPr lang="pt-BR" err="1"/>
              <a:t>laoreet</a:t>
            </a:r>
            <a:r>
              <a:rPr lang="pt-BR"/>
              <a:t> </a:t>
            </a:r>
            <a:r>
              <a:rPr lang="pt-BR" err="1"/>
              <a:t>purus</a:t>
            </a:r>
            <a:r>
              <a:rPr lang="pt-BR"/>
              <a:t>. Nam </a:t>
            </a:r>
            <a:r>
              <a:rPr lang="pt-BR" err="1"/>
              <a:t>malesuada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, ut </a:t>
            </a:r>
            <a:r>
              <a:rPr lang="pt-BR" err="1"/>
              <a:t>sodales</a:t>
            </a:r>
            <a:r>
              <a:rPr lang="pt-BR"/>
              <a:t> </a:t>
            </a:r>
            <a:r>
              <a:rPr lang="pt-BR" err="1"/>
              <a:t>odio</a:t>
            </a:r>
            <a:r>
              <a:rPr lang="pt-BR"/>
              <a:t> </a:t>
            </a:r>
            <a:r>
              <a:rPr lang="pt-BR" err="1"/>
              <a:t>ultrices</a:t>
            </a:r>
            <a:r>
              <a:rPr lang="pt-BR"/>
              <a:t> non. </a:t>
            </a:r>
            <a:r>
              <a:rPr lang="pt-BR" err="1"/>
              <a:t>Morbi</a:t>
            </a:r>
            <a:r>
              <a:rPr lang="pt-BR"/>
              <a:t> </a:t>
            </a:r>
            <a:r>
              <a:rPr lang="pt-BR" err="1"/>
              <a:t>nec</a:t>
            </a:r>
            <a:r>
              <a:rPr lang="pt-BR"/>
              <a:t> </a:t>
            </a:r>
            <a:r>
              <a:rPr lang="pt-BR" err="1"/>
              <a:t>sollicitudin</a:t>
            </a:r>
            <a:r>
              <a:rPr lang="pt-BR"/>
              <a:t> </a:t>
            </a:r>
            <a:r>
              <a:rPr lang="pt-BR" err="1"/>
              <a:t>orci</a:t>
            </a:r>
            <a:r>
              <a:rPr lang="pt-BR"/>
              <a:t>. </a:t>
            </a:r>
            <a:r>
              <a:rPr lang="pt-BR" err="1"/>
              <a:t>Cras</a:t>
            </a:r>
            <a:r>
              <a:rPr lang="pt-BR"/>
              <a:t> eu sem a </a:t>
            </a:r>
            <a:r>
              <a:rPr lang="pt-BR" err="1"/>
              <a:t>sapien</a:t>
            </a:r>
            <a:r>
              <a:rPr lang="pt-BR"/>
              <a:t> </a:t>
            </a:r>
            <a:r>
              <a:rPr lang="pt-BR" err="1"/>
              <a:t>sagittis</a:t>
            </a:r>
            <a:r>
              <a:rPr lang="pt-BR"/>
              <a:t> </a:t>
            </a:r>
            <a:r>
              <a:rPr lang="pt-BR" err="1"/>
              <a:t>mattis</a:t>
            </a:r>
            <a:r>
              <a:rPr lang="pt-BR"/>
              <a:t>. </a:t>
            </a:r>
            <a:r>
              <a:rPr lang="pt-BR" err="1"/>
              <a:t>Phasellus</a:t>
            </a:r>
            <a:r>
              <a:rPr lang="pt-BR"/>
              <a:t> </a:t>
            </a:r>
            <a:r>
              <a:rPr lang="pt-BR" err="1"/>
              <a:t>eget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 quis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consequat</a:t>
            </a:r>
            <a:r>
              <a:rPr lang="pt-BR"/>
              <a:t> </a:t>
            </a:r>
            <a:r>
              <a:rPr lang="pt-BR" err="1"/>
              <a:t>fringilla</a:t>
            </a:r>
            <a:r>
              <a:rPr lang="pt-BR"/>
              <a:t> ut id massa. </a:t>
            </a:r>
            <a:r>
              <a:rPr lang="pt-BR" err="1"/>
              <a:t>Aenean</a:t>
            </a:r>
            <a:r>
              <a:rPr lang="pt-BR"/>
              <a:t> vitae </a:t>
            </a:r>
            <a:r>
              <a:rPr lang="pt-BR" err="1"/>
              <a:t>leo</a:t>
            </a:r>
            <a:r>
              <a:rPr lang="pt-BR"/>
              <a:t> </a:t>
            </a:r>
            <a:r>
              <a:rPr lang="pt-BR" err="1"/>
              <a:t>lacinia</a:t>
            </a:r>
            <a:r>
              <a:rPr lang="pt-BR"/>
              <a:t>, </a:t>
            </a:r>
            <a:r>
              <a:rPr lang="pt-BR" err="1"/>
              <a:t>egestas</a:t>
            </a:r>
            <a:r>
              <a:rPr lang="pt-BR"/>
              <a:t> est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eros</a:t>
            </a:r>
            <a:r>
              <a:rPr lang="pt-BR"/>
              <a:t>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nunc, </a:t>
            </a:r>
            <a:r>
              <a:rPr lang="pt-BR" err="1"/>
              <a:t>congu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nisl</a:t>
            </a:r>
            <a:r>
              <a:rPr lang="pt-BR"/>
              <a:t> et, </a:t>
            </a:r>
            <a:r>
              <a:rPr lang="pt-BR" err="1"/>
              <a:t>bibendum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mi. </a:t>
            </a:r>
            <a:r>
              <a:rPr lang="pt-BR" err="1"/>
              <a:t>Etiam</a:t>
            </a:r>
            <a:r>
              <a:rPr lang="pt-BR"/>
              <a:t> </a:t>
            </a:r>
            <a:r>
              <a:rPr lang="pt-BR" err="1"/>
              <a:t>lectus</a:t>
            </a:r>
            <a:r>
              <a:rPr lang="pt-BR"/>
              <a:t> </a:t>
            </a:r>
            <a:r>
              <a:rPr lang="pt-BR" err="1"/>
              <a:t>nibh</a:t>
            </a:r>
            <a:r>
              <a:rPr lang="pt-BR"/>
              <a:t>,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vel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 ut, </a:t>
            </a:r>
            <a:r>
              <a:rPr lang="pt-BR" err="1"/>
              <a:t>rhoncus</a:t>
            </a:r>
            <a:r>
              <a:rPr lang="pt-BR"/>
              <a:t> </a:t>
            </a:r>
            <a:r>
              <a:rPr lang="pt-BR" err="1"/>
              <a:t>at</a:t>
            </a:r>
            <a:r>
              <a:rPr lang="pt-BR"/>
              <a:t> ex. </a:t>
            </a:r>
            <a:r>
              <a:rPr lang="pt-BR" err="1"/>
              <a:t>Curabitur</a:t>
            </a:r>
            <a:r>
              <a:rPr lang="pt-BR"/>
              <a:t> </a:t>
            </a:r>
            <a:r>
              <a:rPr lang="pt-BR" err="1"/>
              <a:t>scelerisque</a:t>
            </a:r>
            <a:r>
              <a:rPr lang="pt-BR"/>
              <a:t> id est </a:t>
            </a:r>
            <a:r>
              <a:rPr lang="pt-BR" err="1"/>
              <a:t>maximus</a:t>
            </a:r>
            <a:r>
              <a:rPr lang="pt-BR"/>
              <a:t> </a:t>
            </a:r>
            <a:r>
              <a:rPr lang="pt-BR" err="1"/>
              <a:t>pretium</a:t>
            </a:r>
            <a:r>
              <a:rPr lang="pt-BR"/>
              <a:t>.</a:t>
            </a:r>
          </a:p>
          <a:p>
            <a:pPr lvl="0"/>
            <a:r>
              <a:rPr lang="pt-BR" err="1"/>
              <a:t>Nulla</a:t>
            </a:r>
            <a:r>
              <a:rPr lang="pt-BR"/>
              <a:t> ut erat </a:t>
            </a:r>
            <a:r>
              <a:rPr lang="pt-BR" err="1"/>
              <a:t>nisl</a:t>
            </a:r>
            <a:r>
              <a:rPr lang="pt-BR"/>
              <a:t>. </a:t>
            </a:r>
            <a:r>
              <a:rPr lang="pt-BR" err="1"/>
              <a:t>Vestibulum</a:t>
            </a:r>
            <a:r>
              <a:rPr lang="pt-BR"/>
              <a:t> id ante tempus, </a:t>
            </a:r>
            <a:r>
              <a:rPr lang="pt-BR" err="1"/>
              <a:t>blandit</a:t>
            </a:r>
            <a:r>
              <a:rPr lang="pt-BR"/>
              <a:t> ipsum </a:t>
            </a:r>
            <a:r>
              <a:rPr lang="pt-BR" err="1"/>
              <a:t>eget</a:t>
            </a:r>
            <a:r>
              <a:rPr lang="pt-BR"/>
              <a:t>, </a:t>
            </a:r>
            <a:r>
              <a:rPr lang="pt-BR" err="1"/>
              <a:t>molestie</a:t>
            </a:r>
            <a:r>
              <a:rPr lang="pt-BR"/>
              <a:t> sem. </a:t>
            </a:r>
            <a:r>
              <a:rPr lang="pt-BR" err="1"/>
              <a:t>Donec</a:t>
            </a:r>
            <a:r>
              <a:rPr lang="pt-BR"/>
              <a:t> </a:t>
            </a:r>
            <a:r>
              <a:rPr lang="pt-BR" err="1"/>
              <a:t>lobortis</a:t>
            </a:r>
            <a:r>
              <a:rPr lang="pt-BR"/>
              <a:t> </a:t>
            </a:r>
            <a:r>
              <a:rPr lang="pt-BR" err="1"/>
              <a:t>cursus</a:t>
            </a:r>
            <a:r>
              <a:rPr lang="pt-BR"/>
              <a:t> </a:t>
            </a:r>
            <a:r>
              <a:rPr lang="pt-BR" err="1"/>
              <a:t>lorem</a:t>
            </a:r>
            <a:r>
              <a:rPr lang="pt-BR"/>
              <a:t> non </a:t>
            </a:r>
            <a:r>
              <a:rPr lang="pt-BR" err="1"/>
              <a:t>venenatis</a:t>
            </a:r>
            <a:r>
              <a:rPr lang="pt-BR"/>
              <a:t>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tincidunt</a:t>
            </a:r>
            <a:r>
              <a:rPr lang="pt-BR"/>
              <a:t> </a:t>
            </a:r>
            <a:r>
              <a:rPr lang="pt-BR" err="1"/>
              <a:t>sapien</a:t>
            </a:r>
            <a:r>
              <a:rPr lang="pt-BR"/>
              <a:t>. </a:t>
            </a:r>
            <a:r>
              <a:rPr lang="pt-BR" err="1"/>
              <a:t>Vivamus</a:t>
            </a:r>
            <a:r>
              <a:rPr lang="pt-BR"/>
              <a:t> ac </a:t>
            </a:r>
            <a:r>
              <a:rPr lang="pt-BR" err="1"/>
              <a:t>nibh</a:t>
            </a:r>
            <a:r>
              <a:rPr lang="pt-BR"/>
              <a:t>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velit</a:t>
            </a:r>
            <a:r>
              <a:rPr lang="pt-BR"/>
              <a:t> </a:t>
            </a:r>
            <a:r>
              <a:rPr lang="pt-BR" err="1"/>
              <a:t>ullamcorper</a:t>
            </a:r>
            <a:r>
              <a:rPr lang="pt-BR"/>
              <a:t> </a:t>
            </a:r>
            <a:r>
              <a:rPr lang="pt-BR" err="1"/>
              <a:t>facilisis</a:t>
            </a:r>
            <a:r>
              <a:rPr lang="pt-BR"/>
              <a:t>.</a:t>
            </a:r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D91E15-CF95-4E2F-9137-383C0C9D4E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177" y="5748318"/>
            <a:ext cx="1857017" cy="81751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8605" y="242423"/>
            <a:ext cx="2023395" cy="1121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4FB45C6-2EA3-4252-A7E3-3E1A92549A22}"/>
              </a:ext>
            </a:extLst>
          </p:cNvPr>
          <p:cNvSpPr txBox="1"/>
          <p:nvPr userDrawn="1"/>
        </p:nvSpPr>
        <p:spPr>
          <a:xfrm>
            <a:off x="5772540" y="6207729"/>
            <a:ext cx="375090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Madrid Campus: C/Numancia 6, 28039 Madrid</a:t>
            </a:r>
          </a:p>
          <a:p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Barcelona Campus: </a:t>
            </a:r>
            <a:r>
              <a:rPr lang="es-ES" sz="1067" err="1">
                <a:latin typeface="Arial" panose="020B0604020202020204" pitchFamily="34" charset="0"/>
                <a:cs typeface="Arial" panose="020B0604020202020204" pitchFamily="34" charset="0"/>
              </a:rPr>
              <a:t>Carrer</a:t>
            </a:r>
            <a:r>
              <a:rPr lang="es-ES" sz="1067">
                <a:latin typeface="Arial" panose="020B0604020202020204" pitchFamily="34" charset="0"/>
                <a:cs typeface="Arial" panose="020B0604020202020204" pitchFamily="34" charset="0"/>
              </a:rPr>
              <a:t> d'Aragó, 179 08011 Barcelona</a:t>
            </a:r>
            <a:endParaRPr lang="en-GB" sz="10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AECC49B-8273-4C90-BB64-E611EE3B8123}"/>
              </a:ext>
            </a:extLst>
          </p:cNvPr>
          <p:cNvSpPr txBox="1"/>
          <p:nvPr userDrawn="1"/>
        </p:nvSpPr>
        <p:spPr>
          <a:xfrm>
            <a:off x="9523447" y="6207728"/>
            <a:ext cx="4858139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info@global-business-school.org</a:t>
            </a:r>
          </a:p>
          <a:p>
            <a:r>
              <a:rPr lang="en-GB" sz="1067">
                <a:latin typeface="Arial" panose="020B0604020202020204" pitchFamily="34" charset="0"/>
                <a:cs typeface="Arial" panose="020B0604020202020204" pitchFamily="34" charset="0"/>
              </a:rPr>
              <a:t>+34 930 086 58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DC8571C-B851-4D78-8BE3-4EDCD14171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3571" y="6183650"/>
            <a:ext cx="12192" cy="49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914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F5C233-375D-4233-871A-5606010CF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A6B8DDB-C8B1-4030-920E-5F5216DB5A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71CF2C5-9ABB-460B-AF5A-5F52ADA037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03611DC-FB7A-40BB-8E99-D581AA43C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83E7564-63F5-45BD-8CDC-0F811BC76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69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4261AC-7853-46F8-8B21-4BC12B2DB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7851E55-FD7C-4B6B-B691-19293A13D0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34311A7-C3DF-4371-BA98-518132B4F1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CED73A4-1DDE-407D-A591-2A6B188C8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39D44C5-D01A-474F-A7BB-6EAD3B8CE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C3796DA-E9D0-492A-9C9D-0E6AD6E5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8963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B79181-543C-4020-8210-DCFE6BA84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5463C83-639F-4BC5-A5EE-346583FDEB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E8FC8F6-D806-4752-AF37-CA35B6E1FA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3BE360F-7BFC-4051-9353-FF0F6A96CB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186232C-D9F6-416B-9230-B2C766F981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9A14627-0A09-4E26-B193-F35117435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9D8180A-7C21-4321-8A66-60F0903C3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DDB80743-51B6-40BE-B80A-795F214FA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2230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C02903-F8CD-4FFA-8EFA-86AE2C542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2F0A657-D28E-455D-A50A-DBDDA3B06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2CF6CA2-8DE4-4AD9-B0A3-7798BA0F4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BB31DAA-F560-429D-A64B-024A2C667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900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D85F70C2-F5F6-4B24-AC9D-7B484694E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EAD4FCF-444A-4664-9782-FA5337FCE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85A5CDD-535A-4FD4-8A54-CD3B9233E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759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3D8C18-9A12-41F5-A511-206F338582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3232065-D6A2-4976-BBF7-FD68F11C7F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03C10F5-D7FE-4891-B73A-0B16428425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264862C-AC30-468E-87CC-E8F0D25CE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48D84E8-C21F-48CF-8F39-417DFB6070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0230B2-1C0B-4735-B3E8-B2EA1E8CB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432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5990CA-0980-4B2B-80A7-9E3B5AB26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077B3D4-9495-4AC4-93A8-BFAEBFD1C7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5B2C392-A9C9-4D2A-9430-C9E65029CC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DEE7244-730F-4719-9C9D-B12672342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7AD21DC-42D4-4374-99B5-B1FC05D9D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91B9AEA-91F8-4AE6-B81C-0A9317BFC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2585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123B1D8-F5D6-479C-BB36-9F92DEB94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1ADDC61-3BBB-4EF7-ACCB-4EAA9D5B99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4C4EDB-5CF2-4466-B39B-0197576665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54682-BE6C-44DF-B3A6-20B20BCBE1F8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829C91C-2330-4A96-B3D1-4488C486EB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7965DD6-A58E-463C-8A2D-F50444B493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B261F0-07DB-459E-BC39-FB1FE5DE66D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65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  <p:sldLayoutId id="2147483665" r:id="rId14"/>
    <p:sldLayoutId id="2147483666" r:id="rId15"/>
    <p:sldLayoutId id="2147483672" r:id="rId16"/>
    <p:sldLayoutId id="2147483673" r:id="rId17"/>
    <p:sldLayoutId id="2147483675" r:id="rId18"/>
    <p:sldLayoutId id="2147483677" r:id="rId19"/>
    <p:sldLayoutId id="2147483678" r:id="rId20"/>
    <p:sldLayoutId id="214748367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oleObject" Target="../embeddings/oleObject1.bin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26.xml"/><Relationship Id="rId7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29.xml"/><Relationship Id="rId7" Type="http://schemas.openxmlformats.org/officeDocument/2006/relationships/image" Target="../media/image5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32.xml"/><Relationship Id="rId7" Type="http://schemas.openxmlformats.org/officeDocument/2006/relationships/image" Target="../media/image5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35.xml"/><Relationship Id="rId7" Type="http://schemas.openxmlformats.org/officeDocument/2006/relationships/image" Target="../media/image5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38.xml"/><Relationship Id="rId7" Type="http://schemas.openxmlformats.org/officeDocument/2006/relationships/image" Target="../media/image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4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1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4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8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4.xml"/><Relationship Id="rId7" Type="http://schemas.openxmlformats.org/officeDocument/2006/relationships/image" Target="../media/image5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9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7.xml"/><Relationship Id="rId7" Type="http://schemas.openxmlformats.org/officeDocument/2006/relationships/image" Target="../media/image5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50.xml"/><Relationship Id="rId7" Type="http://schemas.openxmlformats.org/officeDocument/2006/relationships/image" Target="../media/image5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8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53.xml"/><Relationship Id="rId7" Type="http://schemas.openxmlformats.org/officeDocument/2006/relationships/image" Target="../media/image5.png"/><Relationship Id="rId12" Type="http://schemas.openxmlformats.org/officeDocument/2006/relationships/hyperlink" Target="https://www.ideatovalue.com/inno/nickskillicorn/2016/03/innovation-15-experts-share-innovation-definition/" TargetMode="Externa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4.emf"/><Relationship Id="rId11" Type="http://schemas.openxmlformats.org/officeDocument/2006/relationships/image" Target="../media/image21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5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2.png"/><Relationship Id="rId3" Type="http://schemas.openxmlformats.org/officeDocument/2006/relationships/tags" Target="../tags/tag56.xml"/><Relationship Id="rId7" Type="http://schemas.openxmlformats.org/officeDocument/2006/relationships/image" Target="../media/image5.png"/><Relationship Id="rId12" Type="http://schemas.openxmlformats.org/officeDocument/2006/relationships/image" Target="../media/image25.sv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3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2.png"/><Relationship Id="rId1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59.xml"/><Relationship Id="rId7" Type="http://schemas.openxmlformats.org/officeDocument/2006/relationships/image" Target="../media/image5.png"/><Relationship Id="rId12" Type="http://schemas.microsoft.com/office/2007/relationships/hdphoto" Target="../media/hdphoto1.wdp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4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7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62.xml"/><Relationship Id="rId7" Type="http://schemas.openxmlformats.org/officeDocument/2006/relationships/image" Target="../media/image5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4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65.xml"/><Relationship Id="rId7" Type="http://schemas.openxmlformats.org/officeDocument/2006/relationships/image" Target="../media/image5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68.xml"/><Relationship Id="rId7" Type="http://schemas.openxmlformats.org/officeDocument/2006/relationships/image" Target="../media/image5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4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1.xml"/><Relationship Id="rId7" Type="http://schemas.openxmlformats.org/officeDocument/2006/relationships/image" Target="../media/image5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4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9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4.xml"/><Relationship Id="rId7" Type="http://schemas.openxmlformats.org/officeDocument/2006/relationships/image" Target="../media/image5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4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7.xml"/><Relationship Id="rId7" Type="http://schemas.openxmlformats.org/officeDocument/2006/relationships/image" Target="../media/image5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80.xml"/><Relationship Id="rId7" Type="http://schemas.openxmlformats.org/officeDocument/2006/relationships/image" Target="../media/image5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4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hyperlink" Target="Competitors%20Analysis.xls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83.xml"/><Relationship Id="rId7" Type="http://schemas.openxmlformats.org/officeDocument/2006/relationships/image" Target="../media/image5.png"/><Relationship Id="rId12" Type="http://schemas.microsoft.com/office/2007/relationships/hdphoto" Target="../media/hdphoto1.wdp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4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1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86.xml"/><Relationship Id="rId7" Type="http://schemas.openxmlformats.org/officeDocument/2006/relationships/image" Target="../media/image5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89.xml"/><Relationship Id="rId7" Type="http://schemas.openxmlformats.org/officeDocument/2006/relationships/image" Target="../media/image5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2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2.xml"/><Relationship Id="rId7" Type="http://schemas.openxmlformats.org/officeDocument/2006/relationships/image" Target="../media/image5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5.xml"/><Relationship Id="rId7" Type="http://schemas.openxmlformats.org/officeDocument/2006/relationships/image" Target="../media/image5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8.xml"/><Relationship Id="rId7" Type="http://schemas.openxmlformats.org/officeDocument/2006/relationships/image" Target="../media/image5.pn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01.xml"/><Relationship Id="rId7" Type="http://schemas.openxmlformats.org/officeDocument/2006/relationships/image" Target="../media/image5.pn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04.xml"/><Relationship Id="rId7" Type="http://schemas.openxmlformats.org/officeDocument/2006/relationships/image" Target="../media/image5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07.xml"/><Relationship Id="rId7" Type="http://schemas.openxmlformats.org/officeDocument/2006/relationships/image" Target="../media/image5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0.xml"/><Relationship Id="rId7" Type="http://schemas.openxmlformats.org/officeDocument/2006/relationships/image" Target="../media/image5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3.xml"/><Relationship Id="rId7" Type="http://schemas.openxmlformats.org/officeDocument/2006/relationships/image" Target="../media/image5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hyperlink" Target="https://www.forbes.com/sites/martinzwilling/2013/09/06/10-tips-for-building-the-most-scalable-startup/?sh=c39741c5f28d" TargetMode="Externa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12" Type="http://schemas.microsoft.com/office/2007/relationships/hdphoto" Target="../media/hdphoto1.wdp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.bin"/><Relationship Id="rId10" Type="http://schemas.openxmlformats.org/officeDocument/2006/relationships/hyperlink" Target="https://canvanizer.com/new/lean-canvas" TargetMode="Externa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6.xml"/><Relationship Id="rId7" Type="http://schemas.openxmlformats.org/officeDocument/2006/relationships/image" Target="../media/image5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9.xml"/><Relationship Id="rId7" Type="http://schemas.openxmlformats.org/officeDocument/2006/relationships/image" Target="../media/image5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4.emf"/><Relationship Id="rId11" Type="http://schemas.openxmlformats.org/officeDocument/2006/relationships/image" Target="../media/image34.jp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22.xml"/><Relationship Id="rId7" Type="http://schemas.openxmlformats.org/officeDocument/2006/relationships/image" Target="../media/image5.pn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4.emf"/><Relationship Id="rId11" Type="http://schemas.openxmlformats.org/officeDocument/2006/relationships/image" Target="../media/image35.emf"/><Relationship Id="rId5" Type="http://schemas.openxmlformats.org/officeDocument/2006/relationships/oleObject" Target="../embeddings/oleObject2.bin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25.xml"/><Relationship Id="rId7" Type="http://schemas.openxmlformats.org/officeDocument/2006/relationships/image" Target="../media/image5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4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ai.boardofinnovation.com/" TargetMode="Externa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28.xml"/><Relationship Id="rId7" Type="http://schemas.openxmlformats.org/officeDocument/2006/relationships/image" Target="../media/image5.png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hyperlink" Target="https://hbr.org/video/5712986167001/why-the-lean-startup-changes-everything" TargetMode="Externa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oleObject" Target="../embeddings/oleObject1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hyperlink" Target="https://campus.gbsb.global/mod/feedback/view.php?id=141453" TargetMode="External"/><Relationship Id="rId4" Type="http://schemas.openxmlformats.org/officeDocument/2006/relationships/image" Target="../media/image4.emf"/><Relationship Id="rId9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youtube.com/watch?v=NyPsP8sus8s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4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4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20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2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08DB555-9C1F-4197-AF4E-889D4EFCBD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269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408DB555-9C1F-4197-AF4E-889D4EFCBD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1">
            <a:extLst>
              <a:ext uri="{FF2B5EF4-FFF2-40B4-BE49-F238E27FC236}">
                <a16:creationId xmlns:a16="http://schemas.microsoft.com/office/drawing/2014/main" id="{0945261C-4F8D-4D48-885A-C24BDA54F505}"/>
              </a:ext>
            </a:extLst>
          </p:cNvPr>
          <p:cNvSpPr txBox="1">
            <a:spLocks/>
          </p:cNvSpPr>
          <p:nvPr/>
        </p:nvSpPr>
        <p:spPr>
          <a:xfrm>
            <a:off x="2638592" y="1098025"/>
            <a:ext cx="6541169" cy="592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2400" b="1" dirty="0">
              <a:solidFill>
                <a:schemeClr val="bg2">
                  <a:lumMod val="50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BCCCF611-A250-47A1-8FE4-254BB8BC81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6486" y="1340835"/>
            <a:ext cx="12514940" cy="45719"/>
          </a:xfrm>
          <a:prstGeom prst="rect">
            <a:avLst/>
          </a:prstGeom>
        </p:spPr>
      </p:pic>
      <p:sp>
        <p:nvSpPr>
          <p:cNvPr id="5" name="Título 1">
            <a:extLst>
              <a:ext uri="{FF2B5EF4-FFF2-40B4-BE49-F238E27FC236}">
                <a16:creationId xmlns:a16="http://schemas.microsoft.com/office/drawing/2014/main" id="{0A9CCC2D-14F6-4A84-B63A-60A72D5ACD2A}"/>
              </a:ext>
            </a:extLst>
          </p:cNvPr>
          <p:cNvSpPr txBox="1">
            <a:spLocks/>
          </p:cNvSpPr>
          <p:nvPr/>
        </p:nvSpPr>
        <p:spPr>
          <a:xfrm>
            <a:off x="-89307" y="3447662"/>
            <a:ext cx="5279145" cy="11158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 Analysis</a:t>
            </a:r>
          </a:p>
          <a:p>
            <a:pPr algn="ctr"/>
            <a:r>
              <a:rPr lang="en-GB" sz="2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avier Arola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CFA69862-AEC8-44C2-8F67-3EDD4CD638B9}"/>
              </a:ext>
            </a:extLst>
          </p:cNvPr>
          <p:cNvSpPr txBox="1">
            <a:spLocks/>
          </p:cNvSpPr>
          <p:nvPr/>
        </p:nvSpPr>
        <p:spPr>
          <a:xfrm>
            <a:off x="2546663" y="499797"/>
            <a:ext cx="8864600" cy="5968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000" b="1" dirty="0" err="1">
                <a:solidFill>
                  <a:srgbClr val="6A2926"/>
                </a:solidFill>
                <a:latin typeface="Arial"/>
                <a:cs typeface="Arial"/>
              </a:rPr>
              <a:t>Impuls</a:t>
            </a:r>
            <a:r>
              <a:rPr lang="en-GB" sz="2000" b="1" dirty="0">
                <a:solidFill>
                  <a:srgbClr val="6A2926"/>
                </a:solidFill>
                <a:latin typeface="Arial"/>
                <a:cs typeface="Arial"/>
              </a:rPr>
              <a:t> AgriTech Call 2025</a:t>
            </a:r>
            <a:endParaRPr lang="en-US" dirty="0"/>
          </a:p>
        </p:txBody>
      </p:sp>
      <p:pic>
        <p:nvPicPr>
          <p:cNvPr id="9" name="Picture 8" descr="A picture containing funnel chart&#10;&#10;Description automatically generated">
            <a:extLst>
              <a:ext uri="{FF2B5EF4-FFF2-40B4-BE49-F238E27FC236}">
                <a16:creationId xmlns:a16="http://schemas.microsoft.com/office/drawing/2014/main" id="{898FDE8A-7D10-95B6-A3E9-863D90182CD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82" b="29412"/>
          <a:stretch/>
        </p:blipFill>
        <p:spPr bwMode="auto">
          <a:xfrm>
            <a:off x="326486" y="5083696"/>
            <a:ext cx="4452619" cy="86693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94F43AF-D817-E246-E6C0-DFED13C34A15}"/>
              </a:ext>
            </a:extLst>
          </p:cNvPr>
          <p:cNvSpPr/>
          <p:nvPr/>
        </p:nvSpPr>
        <p:spPr>
          <a:xfrm>
            <a:off x="337726" y="5066309"/>
            <a:ext cx="4544704" cy="90171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pic>
        <p:nvPicPr>
          <p:cNvPr id="12" name="Imagen 5">
            <a:extLst>
              <a:ext uri="{FF2B5EF4-FFF2-40B4-BE49-F238E27FC236}">
                <a16:creationId xmlns:a16="http://schemas.microsoft.com/office/drawing/2014/main" id="{11DCE3A8-3977-2E59-DC23-11DC0FA7A4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114" y="2162181"/>
            <a:ext cx="6194854" cy="403396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66ED857-2481-72D4-8280-08945E106896}"/>
              </a:ext>
            </a:extLst>
          </p:cNvPr>
          <p:cNvSpPr txBox="1"/>
          <p:nvPr/>
        </p:nvSpPr>
        <p:spPr>
          <a:xfrm>
            <a:off x="244287" y="5985407"/>
            <a:ext cx="4945551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err="1">
                <a:ea typeface="+mn-lt"/>
                <a:cs typeface="+mn-lt"/>
              </a:rPr>
              <a:t>Subvencionat</a:t>
            </a:r>
            <a:r>
              <a:rPr lang="en-US" sz="1400">
                <a:ea typeface="+mn-lt"/>
                <a:cs typeface="+mn-lt"/>
              </a:rPr>
              <a:t> pel </a:t>
            </a:r>
            <a:r>
              <a:rPr lang="en-US" sz="1400" err="1">
                <a:ea typeface="+mn-lt"/>
                <a:cs typeface="+mn-lt"/>
              </a:rPr>
              <a:t>Departament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d'Empresa</a:t>
            </a:r>
            <a:r>
              <a:rPr lang="en-US" sz="1400">
                <a:ea typeface="+mn-lt"/>
                <a:cs typeface="+mn-lt"/>
              </a:rPr>
              <a:t> (</a:t>
            </a:r>
            <a:r>
              <a:rPr lang="en-US" sz="1400" b="1" err="1">
                <a:ea typeface="+mn-lt"/>
                <a:cs typeface="+mn-lt"/>
              </a:rPr>
              <a:t>Programa</a:t>
            </a:r>
            <a:r>
              <a:rPr lang="en-US" sz="1400" b="1">
                <a:ea typeface="+mn-lt"/>
                <a:cs typeface="+mn-lt"/>
              </a:rPr>
              <a:t> </a:t>
            </a:r>
            <a:endParaRPr lang="en-US" sz="1400">
              <a:ea typeface="+mn-lt"/>
              <a:cs typeface="+mn-lt"/>
            </a:endParaRPr>
          </a:p>
          <a:p>
            <a:r>
              <a:rPr lang="en-US" sz="1400" b="1">
                <a:ea typeface="+mn-lt"/>
                <a:cs typeface="+mn-lt"/>
              </a:rPr>
              <a:t>Primer)    </a:t>
            </a:r>
            <a:r>
              <a:rPr lang="en-US" sz="1400" err="1">
                <a:ea typeface="+mn-lt"/>
                <a:cs typeface="+mn-lt"/>
              </a:rPr>
              <a:t>i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amb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el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cofinançament</a:t>
            </a:r>
            <a:r>
              <a:rPr lang="en-US" sz="1400">
                <a:ea typeface="+mn-lt"/>
                <a:cs typeface="+mn-lt"/>
              </a:rPr>
              <a:t> del Fons Social </a:t>
            </a:r>
            <a:r>
              <a:rPr lang="en-US" sz="1400" err="1">
                <a:ea typeface="+mn-lt"/>
                <a:cs typeface="+mn-lt"/>
              </a:rPr>
              <a:t>Europeu</a:t>
            </a:r>
            <a:r>
              <a:rPr lang="en-US" sz="1400">
                <a:ea typeface="+mn-lt"/>
                <a:cs typeface="+mn-lt"/>
              </a:rPr>
              <a:t> Plus</a:t>
            </a:r>
            <a:endParaRPr lang="en-US">
              <a:ea typeface="+mn-lt"/>
              <a:cs typeface="+mn-lt"/>
            </a:endParaRPr>
          </a:p>
        </p:txBody>
      </p:sp>
      <p:pic>
        <p:nvPicPr>
          <p:cNvPr id="3" name="Picture 2" descr="A green and white logo&#10;&#10;AI-generated content may be incorrect.">
            <a:extLst>
              <a:ext uri="{FF2B5EF4-FFF2-40B4-BE49-F238E27FC236}">
                <a16:creationId xmlns:a16="http://schemas.microsoft.com/office/drawing/2014/main" id="{DD708385-C056-86FD-ECC2-AD6B4FD8CEB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91" y="-242887"/>
            <a:ext cx="1914525" cy="181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4327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CB878F0-7961-4D3F-9A83-DA5659D355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891" y="1560850"/>
            <a:ext cx="5551653" cy="4488270"/>
          </a:xfrm>
          <a:prstGeom prst="rect">
            <a:avLst/>
          </a:prstGeom>
        </p:spPr>
      </p:pic>
      <p:pic>
        <p:nvPicPr>
          <p:cNvPr id="5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EF50C4CA-1C6C-DF2D-762D-CD021F18758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2619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40557" y="2484442"/>
            <a:ext cx="9922476" cy="30777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>
                <a:solidFill>
                  <a:srgbClr val="2A2A2A"/>
                </a:solidFill>
                <a:latin typeface="Arial"/>
                <a:cs typeface="Arial"/>
              </a:rPr>
              <a:t>       </a:t>
            </a:r>
            <a:r>
              <a:rPr lang="en-US" sz="3200" i="1">
                <a:solidFill>
                  <a:srgbClr val="2A2A2A"/>
                </a:solidFill>
                <a:latin typeface="Arial"/>
                <a:cs typeface="Arial"/>
              </a:rPr>
              <a:t>EXERCISE 5) EMPATHY CHART</a:t>
            </a: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s-ES" b="1">
              <a:latin typeface="Arial"/>
              <a:cs typeface="Arial"/>
            </a:endParaRPr>
          </a:p>
        </p:txBody>
      </p:sp>
      <p:pic>
        <p:nvPicPr>
          <p:cNvPr id="6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54A6D516-22AB-B443-94AE-214286E651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9066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255266" y="1712927"/>
            <a:ext cx="10223265" cy="43704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s-ES" b="1">
                <a:latin typeface="Arial"/>
                <a:cs typeface="Arial"/>
              </a:rPr>
              <a:t>CHECK IF THEY HAVE A REAL PROBLEM…</a:t>
            </a:r>
          </a:p>
          <a:p>
            <a:endParaRPr lang="es-ES"/>
          </a:p>
          <a:p>
            <a:endParaRPr lang="es-ES"/>
          </a:p>
          <a:p>
            <a:endParaRPr lang="es-ES">
              <a:latin typeface="Arial"/>
              <a:cs typeface="Arial"/>
            </a:endParaRPr>
          </a:p>
          <a:p>
            <a:r>
              <a:rPr lang="es-ES" sz="1600">
                <a:latin typeface="Arial"/>
                <a:cs typeface="Arial"/>
              </a:rPr>
              <a:t>BUT BEFORE DOING THAT LET’S LOOK CLOSER TO </a:t>
            </a:r>
          </a:p>
          <a:p>
            <a:endParaRPr lang="es-ES" sz="1600">
              <a:latin typeface="Arial"/>
              <a:cs typeface="Arial"/>
            </a:endParaRPr>
          </a:p>
          <a:p>
            <a:endParaRPr lang="es-ES" sz="1600">
              <a:latin typeface="Arial"/>
              <a:cs typeface="Arial"/>
            </a:endParaRPr>
          </a:p>
          <a:p>
            <a:r>
              <a:rPr lang="es-ES" sz="1600">
                <a:latin typeface="Arial"/>
                <a:cs typeface="Arial"/>
              </a:rPr>
              <a:t>OUR CUSTOMER</a:t>
            </a:r>
          </a:p>
          <a:p>
            <a:endParaRPr lang="es-ES" sz="1600">
              <a:latin typeface="Arial"/>
              <a:cs typeface="Arial"/>
            </a:endParaRPr>
          </a:p>
          <a:p>
            <a:endParaRPr lang="es-ES" sz="1600">
              <a:latin typeface="Arial"/>
              <a:cs typeface="Arial"/>
            </a:endParaRPr>
          </a:p>
          <a:p>
            <a:r>
              <a:rPr lang="es-ES" sz="2000" b="1">
                <a:latin typeface="Arial"/>
                <a:cs typeface="Arial"/>
              </a:rPr>
              <a:t>EMPATHY CHART/ DIAGRAMA PERSONA</a:t>
            </a: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82FB28C-C50C-4F19-ACCA-20E7A83F616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31189"/>
            <a:ext cx="12356757" cy="799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7413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ED01224A-5C59-463C-B869-9323FD168079}"/>
              </a:ext>
            </a:extLst>
          </p:cNvPr>
          <p:cNvSpPr txBox="1">
            <a:spLocks/>
          </p:cNvSpPr>
          <p:nvPr/>
        </p:nvSpPr>
        <p:spPr>
          <a:xfrm>
            <a:off x="1808632" y="2013768"/>
            <a:ext cx="14020800" cy="1206864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650" b="1">
                <a:solidFill>
                  <a:srgbClr val="F7B562"/>
                </a:solidFill>
                <a:latin typeface="Arial"/>
                <a:ea typeface="+mj-lt"/>
                <a:cs typeface="+mj-lt"/>
              </a:rPr>
              <a:t>PROBLEM / SOLUTION</a:t>
            </a:r>
            <a:endParaRPr lang="en-US">
              <a:solidFill>
                <a:srgbClr val="F7B562"/>
              </a:solidFill>
              <a:latin typeface="Arial"/>
            </a:endParaRPr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BF9EE3D0-3352-4636-9464-73E86242B84D}"/>
              </a:ext>
            </a:extLst>
          </p:cNvPr>
          <p:cNvSpPr txBox="1">
            <a:spLocks/>
          </p:cNvSpPr>
          <p:nvPr/>
        </p:nvSpPr>
        <p:spPr>
          <a:xfrm>
            <a:off x="1487789" y="2486650"/>
            <a:ext cx="9434787" cy="3393303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>
              <a:latin typeface="Arial"/>
              <a:cs typeface="Arial"/>
            </a:endParaRPr>
          </a:p>
          <a:p>
            <a:pPr marL="608965" lvl="1" indent="0">
              <a:lnSpc>
                <a:spcPct val="70000"/>
              </a:lnSpc>
              <a:buNone/>
            </a:pPr>
            <a:r>
              <a:rPr lang="es-ES" sz="2800" b="1">
                <a:latin typeface="Arial"/>
                <a:ea typeface="+mn-lt"/>
                <a:cs typeface="+mn-lt"/>
              </a:rPr>
              <a:t>KEY QUESTIONS</a:t>
            </a:r>
            <a:endParaRPr lang="en-GB" sz="2800" b="1">
              <a:latin typeface="Arial"/>
              <a:ea typeface="+mn-lt"/>
              <a:cs typeface="+mn-lt"/>
            </a:endParaRPr>
          </a:p>
          <a:p>
            <a:pPr marL="971550" lvl="1" indent="-285750">
              <a:lnSpc>
                <a:spcPct val="70000"/>
              </a:lnSpc>
              <a:buFont typeface="Arial"/>
            </a:pPr>
            <a:endParaRPr lang="en-GB" sz="2800">
              <a:latin typeface="Arial"/>
              <a:ea typeface="+mn-lt"/>
              <a:cs typeface="+mn-lt"/>
            </a:endParaRPr>
          </a:p>
          <a:p>
            <a:pPr marL="971550" lvl="1" indent="-285750">
              <a:lnSpc>
                <a:spcPct val="70000"/>
              </a:lnSpc>
              <a:buFont typeface="Wingdings"/>
              <a:buChar char="Ø"/>
            </a:pPr>
            <a:r>
              <a:rPr lang="en-GB" sz="2800">
                <a:latin typeface="Arial"/>
                <a:ea typeface="+mn-lt"/>
                <a:cs typeface="+mn-lt"/>
              </a:rPr>
              <a:t>What value do we deliver to the customer?</a:t>
            </a:r>
            <a:endParaRPr lang="en-US" sz="2800">
              <a:latin typeface="Arial"/>
              <a:ea typeface="+mn-lt"/>
              <a:cs typeface="+mn-lt"/>
            </a:endParaRPr>
          </a:p>
          <a:p>
            <a:pPr marL="971550" lvl="1" indent="-285750">
              <a:lnSpc>
                <a:spcPct val="70000"/>
              </a:lnSpc>
              <a:buFont typeface="Wingdings"/>
              <a:buChar char="Ø"/>
            </a:pPr>
            <a:r>
              <a:rPr lang="en-GB" sz="2800">
                <a:latin typeface="Arial"/>
                <a:ea typeface="+mn-lt"/>
                <a:cs typeface="+mn-lt"/>
              </a:rPr>
              <a:t>Which one of our customer’s problems are we helping to solve?</a:t>
            </a:r>
            <a:endParaRPr lang="en-US" sz="2800">
              <a:latin typeface="Arial"/>
              <a:ea typeface="+mn-lt"/>
              <a:cs typeface="+mn-lt"/>
            </a:endParaRPr>
          </a:p>
          <a:p>
            <a:pPr marL="971550" lvl="1" indent="-285750">
              <a:lnSpc>
                <a:spcPct val="70000"/>
              </a:lnSpc>
              <a:buFont typeface="Wingdings"/>
              <a:buChar char="Ø"/>
            </a:pPr>
            <a:r>
              <a:rPr lang="en-GB" sz="2800">
                <a:latin typeface="Arial"/>
                <a:ea typeface="+mn-lt"/>
                <a:cs typeface="+mn-lt"/>
              </a:rPr>
              <a:t>Which customer needs are we satisfying? </a:t>
            </a:r>
            <a:endParaRPr lang="en-US" sz="2800">
              <a:latin typeface="Arial"/>
              <a:ea typeface="+mn-lt"/>
              <a:cs typeface="+mn-lt"/>
            </a:endParaRPr>
          </a:p>
          <a:p>
            <a:pPr marL="971550" lvl="1" indent="-285750">
              <a:lnSpc>
                <a:spcPct val="70000"/>
              </a:lnSpc>
              <a:buFont typeface="Wingdings"/>
              <a:buChar char="Ø"/>
            </a:pPr>
            <a:r>
              <a:rPr lang="en-GB" sz="2800">
                <a:latin typeface="Arial"/>
                <a:ea typeface="+mn-lt"/>
                <a:cs typeface="+mn-lt"/>
              </a:rPr>
              <a:t>What bundles of products and services are we offering to each Customer Segment?</a:t>
            </a:r>
            <a:endParaRPr lang="en-GB" sz="2800">
              <a:latin typeface="Arial"/>
              <a:cs typeface="Arial"/>
            </a:endParaRPr>
          </a:p>
        </p:txBody>
      </p:sp>
      <p:pic>
        <p:nvPicPr>
          <p:cNvPr id="6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FBDAF5D9-F291-7943-336A-82D01A0466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329409" y="1709734"/>
            <a:ext cx="9922476" cy="23452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s-ES" sz="2400" b="1">
                <a:solidFill>
                  <a:srgbClr val="F7B562"/>
                </a:solidFill>
                <a:latin typeface="Arial"/>
                <a:cs typeface="Arial"/>
              </a:rPr>
              <a:t>And then with this persona profile we can focus on</a:t>
            </a:r>
            <a:endParaRPr lang="es-ES" sz="2400">
              <a:solidFill>
                <a:srgbClr val="F7B562"/>
              </a:solidFill>
              <a:latin typeface="Arial"/>
              <a:ea typeface="+mn-lt"/>
              <a:cs typeface="+mn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s-ES" sz="2400">
              <a:latin typeface="Arial"/>
              <a:ea typeface="+mn-lt"/>
              <a:cs typeface="+mn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s-ES" sz="2400">
                <a:latin typeface="Arial"/>
                <a:ea typeface="+mn-lt"/>
                <a:cs typeface="+mn-lt"/>
              </a:rPr>
              <a:t>The problema /solution </a:t>
            </a:r>
            <a:endParaRPr lang="es-ES">
              <a:latin typeface="Arial"/>
              <a:ea typeface="+mn-lt"/>
              <a:cs typeface="+mn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s-ES" sz="2400">
                <a:latin typeface="Arial"/>
                <a:ea typeface="+mn-lt"/>
                <a:cs typeface="+mn-lt"/>
              </a:rPr>
              <a:t>perspective… </a:t>
            </a:r>
            <a:endParaRPr lang="es-ES">
              <a:latin typeface="Arial"/>
              <a:cs typeface="Calibri"/>
            </a:endParaRPr>
          </a:p>
          <a:p>
            <a:r>
              <a:rPr lang="en-US" sz="2400" b="1" i="0">
                <a:solidFill>
                  <a:srgbClr val="2A2A2A"/>
                </a:solidFill>
                <a:effectLst/>
                <a:latin typeface="Arial"/>
                <a:cs typeface="Arial"/>
              </a:rPr>
              <a:t>				</a:t>
            </a:r>
            <a:endParaRPr lang="es-ES" sz="2400">
              <a:latin typeface="Arial"/>
              <a:cs typeface="Arial"/>
            </a:endParaRPr>
          </a:p>
          <a:p>
            <a:endParaRPr lang="es-ES"/>
          </a:p>
          <a:p>
            <a:endParaRPr lang="es-E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E91FA6-6B82-4396-8E4C-8EEF37FC35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09046" y="2309357"/>
            <a:ext cx="7484866" cy="4464572"/>
          </a:xfrm>
          <a:prstGeom prst="rect">
            <a:avLst/>
          </a:prstGeom>
        </p:spPr>
      </p:pic>
      <p:sp>
        <p:nvSpPr>
          <p:cNvPr id="7" name="Estrella: 5 puntas 11">
            <a:extLst>
              <a:ext uri="{FF2B5EF4-FFF2-40B4-BE49-F238E27FC236}">
                <a16:creationId xmlns:a16="http://schemas.microsoft.com/office/drawing/2014/main" id="{63633E82-D55D-40A9-91A0-C4B46A23BA00}"/>
              </a:ext>
            </a:extLst>
          </p:cNvPr>
          <p:cNvSpPr/>
          <p:nvPr/>
        </p:nvSpPr>
        <p:spPr>
          <a:xfrm>
            <a:off x="5984659" y="2929613"/>
            <a:ext cx="632177" cy="643467"/>
          </a:xfrm>
          <a:prstGeom prst="star5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2400"/>
          </a:p>
        </p:txBody>
      </p:sp>
      <p:sp>
        <p:nvSpPr>
          <p:cNvPr id="9" name="Estrella: 5 puntas 8">
            <a:extLst>
              <a:ext uri="{FF2B5EF4-FFF2-40B4-BE49-F238E27FC236}">
                <a16:creationId xmlns:a16="http://schemas.microsoft.com/office/drawing/2014/main" id="{A800CD5A-7567-4818-8AF2-7DA21546E1EE}"/>
              </a:ext>
            </a:extLst>
          </p:cNvPr>
          <p:cNvSpPr/>
          <p:nvPr/>
        </p:nvSpPr>
        <p:spPr>
          <a:xfrm>
            <a:off x="4544532" y="3291451"/>
            <a:ext cx="632177" cy="643467"/>
          </a:xfrm>
          <a:prstGeom prst="star5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2400"/>
          </a:p>
        </p:txBody>
      </p:sp>
      <p:pic>
        <p:nvPicPr>
          <p:cNvPr id="10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6B0CBFA6-1D62-1CB9-AD0B-5F176C8A90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2755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197709" y="1679967"/>
            <a:ext cx="9922476" cy="627864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dirty="0"/>
          </a:p>
          <a:p>
            <a:r>
              <a:rPr lang="es-ES" dirty="0">
                <a:latin typeface="Arial"/>
                <a:cs typeface="Arial"/>
              </a:rPr>
              <a:t>LET’S CHECK CUSTOMER </a:t>
            </a:r>
          </a:p>
          <a:p>
            <a:r>
              <a:rPr lang="es-ES" dirty="0">
                <a:latin typeface="Arial"/>
                <a:cs typeface="Arial"/>
              </a:rPr>
              <a:t>WITH VALUE PROPOSITION </a:t>
            </a:r>
          </a:p>
          <a:p>
            <a:r>
              <a:rPr lang="es-ES" dirty="0">
                <a:latin typeface="Arial"/>
                <a:cs typeface="Arial"/>
              </a:rPr>
              <a:t>TRHOUGH</a:t>
            </a:r>
          </a:p>
          <a:p>
            <a:endParaRPr lang="es-ES" dirty="0">
              <a:latin typeface="Arial"/>
              <a:cs typeface="Arial"/>
            </a:endParaRPr>
          </a:p>
          <a:p>
            <a:endParaRPr lang="es-ES" dirty="0">
              <a:latin typeface="Arial"/>
              <a:cs typeface="Arial"/>
            </a:endParaRPr>
          </a:p>
          <a:p>
            <a:endParaRPr lang="es-ES" dirty="0">
              <a:latin typeface="Arial"/>
              <a:cs typeface="Arial"/>
            </a:endParaRPr>
          </a:p>
          <a:p>
            <a:r>
              <a:rPr lang="es-ES" sz="2400" b="1" dirty="0">
                <a:latin typeface="Arial"/>
                <a:cs typeface="Arial"/>
              </a:rPr>
              <a:t>THE</a:t>
            </a:r>
            <a:endParaRPr lang="es-ES" sz="2400" b="1" dirty="0">
              <a:latin typeface="Arial"/>
              <a:cs typeface="Calibri"/>
            </a:endParaRPr>
          </a:p>
          <a:p>
            <a:r>
              <a:rPr lang="es-ES" sz="2400" b="1" dirty="0">
                <a:latin typeface="Arial"/>
                <a:cs typeface="Arial"/>
              </a:rPr>
              <a:t>VALUE</a:t>
            </a:r>
          </a:p>
          <a:p>
            <a:r>
              <a:rPr lang="es-ES" sz="2400" b="1" dirty="0">
                <a:latin typeface="Arial"/>
                <a:cs typeface="Arial"/>
              </a:rPr>
              <a:t>PROPOSITION </a:t>
            </a:r>
          </a:p>
          <a:p>
            <a:r>
              <a:rPr lang="es-ES" sz="2400" b="1" dirty="0">
                <a:latin typeface="Arial"/>
                <a:cs typeface="Arial"/>
              </a:rPr>
              <a:t>CANVAS</a:t>
            </a:r>
            <a:endParaRPr lang="es-ES" dirty="0">
              <a:cs typeface="Calibri"/>
            </a:endParaRPr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pic>
        <p:nvPicPr>
          <p:cNvPr id="11" name="Marcador de contenido 8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75316154-3504-4582-9482-09EE611FE9F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21273" y="1507181"/>
            <a:ext cx="7274011" cy="5251099"/>
          </a:xfrm>
          <a:prstGeom prst="rect">
            <a:avLst/>
          </a:prstGeom>
        </p:spPr>
      </p:pic>
      <p:pic>
        <p:nvPicPr>
          <p:cNvPr id="9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6F33E737-868D-7F2B-51CA-71D970A96B4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5535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839393" y="2131151"/>
            <a:ext cx="10774712" cy="461664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dirty="0"/>
          </a:p>
          <a:p>
            <a:endParaRPr lang="es-ES" dirty="0">
              <a:latin typeface="Arial"/>
              <a:cs typeface="Arial"/>
            </a:endParaRPr>
          </a:p>
          <a:p>
            <a:endParaRPr lang="es-ES" dirty="0">
              <a:latin typeface="Arial"/>
              <a:cs typeface="Arial"/>
            </a:endParaRPr>
          </a:p>
          <a:p>
            <a:endParaRPr lang="es-ES" dirty="0">
              <a:latin typeface="Arial"/>
              <a:cs typeface="Arial"/>
            </a:endParaRPr>
          </a:p>
          <a:p>
            <a:endParaRPr lang="es-ES" dirty="0">
              <a:latin typeface="Arial"/>
              <a:cs typeface="Arial"/>
            </a:endParaRPr>
          </a:p>
          <a:p>
            <a:r>
              <a:rPr lang="es-ES" sz="2400" b="1" dirty="0">
                <a:latin typeface="Arial"/>
                <a:cs typeface="Arial"/>
              </a:rPr>
              <a:t>EXAMPLE</a:t>
            </a:r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pic>
        <p:nvPicPr>
          <p:cNvPr id="5" name="Marcador de contenido 5">
            <a:extLst>
              <a:ext uri="{FF2B5EF4-FFF2-40B4-BE49-F238E27FC236}">
                <a16:creationId xmlns:a16="http://schemas.microsoft.com/office/drawing/2014/main" id="{372AE89D-833C-4D9F-9C0B-983729516C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53204" y="1518782"/>
            <a:ext cx="8534935" cy="5334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5037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40557" y="2484442"/>
            <a:ext cx="9922476" cy="33547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 dirty="0">
                <a:solidFill>
                  <a:srgbClr val="2A2A2A"/>
                </a:solidFill>
                <a:latin typeface="Arial"/>
                <a:cs typeface="Arial"/>
              </a:rPr>
              <a:t>       </a:t>
            </a:r>
            <a:r>
              <a:rPr lang="en-US" sz="3200" i="1" dirty="0">
                <a:solidFill>
                  <a:srgbClr val="2A2A2A"/>
                </a:solidFill>
                <a:latin typeface="Arial"/>
                <a:cs typeface="Arial"/>
              </a:rPr>
              <a:t>EXERCISE 6) VALUE PROPOSITION CANVAS</a:t>
            </a: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 dirty="0">
              <a:solidFill>
                <a:srgbClr val="2A2A2A"/>
              </a:solidFill>
              <a:latin typeface="Arial"/>
              <a:cs typeface="Arial"/>
            </a:endParaRPr>
          </a:p>
          <a:p>
            <a:endParaRPr lang="es-ES" b="1" dirty="0">
              <a:latin typeface="Arial"/>
              <a:cs typeface="Arial"/>
            </a:endParaRPr>
          </a:p>
        </p:txBody>
      </p:sp>
      <p:pic>
        <p:nvPicPr>
          <p:cNvPr id="6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B212A897-DF9F-2001-4099-CAB2956E75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4694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255266" y="1712927"/>
            <a:ext cx="10223265" cy="14773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pic>
        <p:nvPicPr>
          <p:cNvPr id="5" name="Marcador de contenido 8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8B11F66A-6622-4F37-A37A-6988366D87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4270" y="91846"/>
            <a:ext cx="11364857" cy="6755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2751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656319" y="1652770"/>
            <a:ext cx="10483949" cy="13542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dirty="0"/>
          </a:p>
          <a:p>
            <a:pPr algn="ctr"/>
            <a:r>
              <a:rPr lang="es-ES" sz="2800" b="1" dirty="0" err="1">
                <a:latin typeface="Arial"/>
                <a:cs typeface="Calibri"/>
              </a:rPr>
              <a:t>Let’s</a:t>
            </a:r>
            <a:r>
              <a:rPr lang="es-ES" sz="2800" b="1" dirty="0">
                <a:latin typeface="Arial"/>
                <a:cs typeface="Calibri"/>
              </a:rPr>
              <a:t> </a:t>
            </a:r>
            <a:r>
              <a:rPr lang="es-ES" sz="2800" b="1" dirty="0" err="1">
                <a:latin typeface="Arial"/>
                <a:cs typeface="Calibri"/>
              </a:rPr>
              <a:t>identify</a:t>
            </a:r>
            <a:r>
              <a:rPr lang="es-ES" sz="2800" b="1" dirty="0">
                <a:latin typeface="Arial"/>
                <a:cs typeface="Calibri"/>
              </a:rPr>
              <a:t> </a:t>
            </a:r>
            <a:r>
              <a:rPr lang="es-ES" sz="2800" b="1" dirty="0" err="1">
                <a:latin typeface="Arial"/>
                <a:cs typeface="Calibri"/>
              </a:rPr>
              <a:t>our</a:t>
            </a:r>
            <a:r>
              <a:rPr lang="es-ES" sz="2800" b="1" dirty="0">
                <a:latin typeface="Arial"/>
                <a:cs typeface="Calibri"/>
              </a:rPr>
              <a:t> </a:t>
            </a:r>
            <a:r>
              <a:rPr lang="es-ES" sz="2800" b="1" dirty="0" err="1">
                <a:latin typeface="Arial"/>
                <a:cs typeface="Calibri"/>
              </a:rPr>
              <a:t>inovativness</a:t>
            </a:r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sp>
        <p:nvSpPr>
          <p:cNvPr id="5" name="Arrow: Curved Right 4">
            <a:extLst>
              <a:ext uri="{FF2B5EF4-FFF2-40B4-BE49-F238E27FC236}">
                <a16:creationId xmlns:a16="http://schemas.microsoft.com/office/drawing/2014/main" id="{C7746167-C14E-462C-ABD2-F603A77D3D19}"/>
              </a:ext>
            </a:extLst>
          </p:cNvPr>
          <p:cNvSpPr/>
          <p:nvPr/>
        </p:nvSpPr>
        <p:spPr>
          <a:xfrm>
            <a:off x="556660" y="2740713"/>
            <a:ext cx="731921" cy="1513973"/>
          </a:xfrm>
          <a:prstGeom prst="curvedRightArrow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6" name="Graphic 6" descr="Lightbulb">
            <a:extLst>
              <a:ext uri="{FF2B5EF4-FFF2-40B4-BE49-F238E27FC236}">
                <a16:creationId xmlns:a16="http://schemas.microsoft.com/office/drawing/2014/main" id="{6ACF9906-5235-4003-B88A-1005212CEC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28537" y="3322721"/>
            <a:ext cx="2338135" cy="2318083"/>
          </a:xfrm>
          <a:prstGeom prst="rect">
            <a:avLst/>
          </a:prstGeom>
        </p:spPr>
      </p:pic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E58DF3AB-1F49-45BD-84D4-7BC97507C189}"/>
              </a:ext>
            </a:extLst>
          </p:cNvPr>
          <p:cNvSpPr/>
          <p:nvPr/>
        </p:nvSpPr>
        <p:spPr>
          <a:xfrm>
            <a:off x="5069807" y="3125182"/>
            <a:ext cx="6035840" cy="2526630"/>
          </a:xfrm>
          <a:prstGeom prst="wedgeRoundRectCallout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solidFill>
                  <a:schemeClr val="tx1"/>
                </a:solidFill>
                <a:latin typeface="Arial"/>
                <a:ea typeface="+mn-lt"/>
                <a:cs typeface="+mn-lt"/>
              </a:rPr>
              <a:t>DEFINE YOUR INNOVATION PROCESS</a:t>
            </a:r>
            <a:br>
              <a:rPr lang="es-ES" b="1">
                <a:solidFill>
                  <a:srgbClr val="009999"/>
                </a:solidFill>
                <a:ea typeface="+mn-lt"/>
                <a:cs typeface="+mn-lt"/>
              </a:rPr>
            </a:br>
            <a:br>
              <a:rPr lang="es-ES" b="1">
                <a:solidFill>
                  <a:srgbClr val="009999"/>
                </a:solidFill>
                <a:ea typeface="+mn-lt"/>
                <a:cs typeface="+mn-lt"/>
              </a:rPr>
            </a:br>
            <a:r>
              <a:rPr lang="es-ES" b="1">
                <a:solidFill>
                  <a:srgbClr val="009999"/>
                </a:solidFill>
                <a:ea typeface="+mn-lt"/>
                <a:cs typeface="+mn-lt"/>
                <a:hlinkClick r:id="rId12"/>
              </a:rPr>
              <a:t>https://www.ideatovalue.com/inno/nickskillicorn/2016/03/innovation-15-experts-share-innovation-</a:t>
            </a:r>
            <a:r>
              <a:rPr lang="es-ES">
                <a:ea typeface="+mn-lt"/>
                <a:cs typeface="+mn-lt"/>
                <a:hlinkClick r:id="rId12"/>
              </a:rPr>
              <a:t>definition/</a:t>
            </a:r>
            <a:endParaRPr lang="en-US"/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43637933-583F-47D2-BF8B-01B527A14A26}"/>
              </a:ext>
            </a:extLst>
          </p:cNvPr>
          <p:cNvSpPr/>
          <p:nvPr/>
        </p:nvSpPr>
        <p:spPr>
          <a:xfrm>
            <a:off x="4074011" y="4144196"/>
            <a:ext cx="661737" cy="481263"/>
          </a:xfrm>
          <a:prstGeom prst="chevron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9434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40557" y="2484442"/>
            <a:ext cx="9922476" cy="30777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>
                <a:solidFill>
                  <a:srgbClr val="2A2A2A"/>
                </a:solidFill>
                <a:latin typeface="Arial"/>
                <a:cs typeface="Arial"/>
              </a:rPr>
              <a:t>       </a:t>
            </a:r>
            <a:r>
              <a:rPr lang="en-US" sz="3200" i="1">
                <a:solidFill>
                  <a:srgbClr val="2A2A2A"/>
                </a:solidFill>
                <a:latin typeface="Arial"/>
                <a:cs typeface="Arial"/>
              </a:rPr>
              <a:t>RECAP SESSION  - 1</a:t>
            </a: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s-ES" b="1">
              <a:latin typeface="Arial"/>
              <a:cs typeface="Arial"/>
            </a:endParaRPr>
          </a:p>
        </p:txBody>
      </p:sp>
      <p:pic>
        <p:nvPicPr>
          <p:cNvPr id="5" name="Picture 4" descr="A green and white logo&#10;&#10;AI-generated content may be incorrect.">
            <a:extLst>
              <a:ext uri="{FF2B5EF4-FFF2-40B4-BE49-F238E27FC236}">
                <a16:creationId xmlns:a16="http://schemas.microsoft.com/office/drawing/2014/main" id="{0297BC16-B98E-AD62-0E14-CC3188A43A4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74910" y="-1099"/>
            <a:ext cx="1914525" cy="181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7732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56055" y="1692875"/>
            <a:ext cx="9922476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ES" dirty="0">
                <a:latin typeface="Arial"/>
                <a:cs typeface="Arial"/>
              </a:rPr>
              <a:t>AND THEN…</a:t>
            </a:r>
            <a:endParaRPr lang="es-ES" dirty="0">
              <a:latin typeface="Calibri"/>
              <a:cs typeface="Calibri"/>
            </a:endParaRPr>
          </a:p>
          <a:p>
            <a:pPr algn="ctr"/>
            <a:endParaRPr lang="es-ES" sz="2400" b="1" dirty="0">
              <a:latin typeface="Arial"/>
              <a:cs typeface="Arial"/>
            </a:endParaRPr>
          </a:p>
          <a:p>
            <a:pPr algn="ctr"/>
            <a:r>
              <a:rPr lang="es-ES" sz="2400" b="1" dirty="0">
                <a:latin typeface="Arial"/>
                <a:cs typeface="Arial"/>
              </a:rPr>
              <a:t>THE DIFFERENTIATION OF OUR VALUE PROPOSITION</a:t>
            </a:r>
          </a:p>
          <a:p>
            <a:endParaRPr lang="es-ES" dirty="0">
              <a:latin typeface="Arial"/>
              <a:cs typeface="Arial"/>
            </a:endParaRPr>
          </a:p>
          <a:p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Let's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dig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into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the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deepness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of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our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potential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Market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and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the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easiness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to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achieve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it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and 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growth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 (</a:t>
            </a:r>
            <a:r>
              <a:rPr lang="es-ES" sz="2400" b="1" dirty="0" err="1">
                <a:solidFill>
                  <a:srgbClr val="F7B562"/>
                </a:solidFill>
                <a:latin typeface="Arial"/>
                <a:cs typeface="Arial"/>
              </a:rPr>
              <a:t>Scalability</a:t>
            </a:r>
            <a:r>
              <a:rPr lang="es-ES" sz="2400" b="1" dirty="0">
                <a:solidFill>
                  <a:srgbClr val="F7B562"/>
                </a:solidFill>
                <a:latin typeface="Arial"/>
                <a:cs typeface="Arial"/>
              </a:rPr>
              <a:t>) </a:t>
            </a:r>
            <a:endParaRPr lang="es-ES" b="1" dirty="0">
              <a:solidFill>
                <a:srgbClr val="F7B562"/>
              </a:solidFill>
              <a:latin typeface="Arial"/>
              <a:cs typeface="Arial"/>
            </a:endParaRPr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pic>
        <p:nvPicPr>
          <p:cNvPr id="5" name="Graphic 5" descr="Group of people">
            <a:extLst>
              <a:ext uri="{FF2B5EF4-FFF2-40B4-BE49-F238E27FC236}">
                <a16:creationId xmlns:a16="http://schemas.microsoft.com/office/drawing/2014/main" id="{49FC4114-582F-4B21-9B90-BCC1EFF54F1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11906" y="4154906"/>
            <a:ext cx="1886951" cy="1896978"/>
          </a:xfrm>
          <a:prstGeom prst="rect">
            <a:avLst/>
          </a:prstGeom>
        </p:spPr>
      </p:pic>
      <p:pic>
        <p:nvPicPr>
          <p:cNvPr id="6" name="Graphic 6" descr="Upward trend">
            <a:extLst>
              <a:ext uri="{FF2B5EF4-FFF2-40B4-BE49-F238E27FC236}">
                <a16:creationId xmlns:a16="http://schemas.microsoft.com/office/drawing/2014/main" id="{666BFB54-032B-402C-9761-C57CF504D79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91037" y="4054643"/>
            <a:ext cx="2097504" cy="2097504"/>
          </a:xfrm>
          <a:prstGeom prst="rect">
            <a:avLst/>
          </a:prstGeom>
        </p:spPr>
      </p:pic>
      <p:pic>
        <p:nvPicPr>
          <p:cNvPr id="9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6C89CB0E-E297-19FB-80EF-8DC6A18EF12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0975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A3DA9E0-D035-461F-A3F0-D87604A87C1D}"/>
              </a:ext>
            </a:extLst>
          </p:cNvPr>
          <p:cNvSpPr/>
          <p:nvPr/>
        </p:nvSpPr>
        <p:spPr>
          <a:xfrm>
            <a:off x="5187616" y="2069432"/>
            <a:ext cx="5805235" cy="3619498"/>
          </a:xfrm>
          <a:prstGeom prst="roundRect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3200" b="1">
                <a:solidFill>
                  <a:schemeClr val="tx1"/>
                </a:solidFill>
                <a:latin typeface="Arial"/>
                <a:cs typeface="Calibri"/>
              </a:rPr>
              <a:t>WHAT IS IT THAT DIFFERENTIATES THE COMPANY FROM THE REST OF THE MARKET IN THE EYES OF THE CUSTOMERS?</a:t>
            </a:r>
            <a:endParaRPr lang="en-US" sz="3200">
              <a:solidFill>
                <a:schemeClr val="tx1"/>
              </a:solidFill>
              <a:latin typeface="Arial"/>
            </a:endParaRPr>
          </a:p>
        </p:txBody>
      </p:sp>
      <p:pic>
        <p:nvPicPr>
          <p:cNvPr id="6" name="Graphic 6" descr="Help">
            <a:extLst>
              <a:ext uri="{FF2B5EF4-FFF2-40B4-BE49-F238E27FC236}">
                <a16:creationId xmlns:a16="http://schemas.microsoft.com/office/drawing/2014/main" id="{AB09BB6A-65B0-433F-8615-8F1018CD1C6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5432" y="2550694"/>
            <a:ext cx="2568742" cy="2568742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2F7E1E72-6461-4667-884E-2466E5930B1C}"/>
              </a:ext>
            </a:extLst>
          </p:cNvPr>
          <p:cNvSpPr/>
          <p:nvPr/>
        </p:nvSpPr>
        <p:spPr>
          <a:xfrm>
            <a:off x="3280691" y="3457394"/>
            <a:ext cx="1443788" cy="761999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71BC55BC-C235-582C-13B0-C5923593E2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1214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56055" y="1692875"/>
            <a:ext cx="9922476" cy="258532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pPr algn="ctr"/>
            <a:r>
              <a:rPr lang="es-ES" b="1">
                <a:latin typeface="Arial"/>
                <a:cs typeface="Arial"/>
              </a:rPr>
              <a:t>THEN LET’S REDEFINE THE PROBLEM WE ARE SOLVING ACCORDING TO YOUR END USER PROFILE…</a:t>
            </a: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35D2B411-57D5-4093-86AD-EF2EAB21F4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86465" y="2847037"/>
            <a:ext cx="6261656" cy="3732651"/>
          </a:xfrm>
          <a:prstGeom prst="rect">
            <a:avLst/>
          </a:prstGeom>
        </p:spPr>
      </p:pic>
      <p:sp>
        <p:nvSpPr>
          <p:cNvPr id="6" name="Estrella: 5 puntas 5">
            <a:extLst>
              <a:ext uri="{FF2B5EF4-FFF2-40B4-BE49-F238E27FC236}">
                <a16:creationId xmlns:a16="http://schemas.microsoft.com/office/drawing/2014/main" id="{317798AA-7C99-4FDF-BD7F-C459151883C3}"/>
              </a:ext>
            </a:extLst>
          </p:cNvPr>
          <p:cNvSpPr/>
          <p:nvPr/>
        </p:nvSpPr>
        <p:spPr>
          <a:xfrm>
            <a:off x="5201204" y="3429000"/>
            <a:ext cx="632177" cy="643467"/>
          </a:xfrm>
          <a:prstGeom prst="star5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2400"/>
          </a:p>
        </p:txBody>
      </p:sp>
      <p:pic>
        <p:nvPicPr>
          <p:cNvPr id="9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EE801CF1-9506-7E55-4EBF-75F6DD2F45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7483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56055" y="1692875"/>
            <a:ext cx="9922476" cy="36317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pPr algn="ctr"/>
            <a:r>
              <a:rPr lang="es-ES" sz="2800" b="1" err="1">
                <a:latin typeface="Arial"/>
                <a:cs typeface="Arial"/>
              </a:rPr>
              <a:t>About</a:t>
            </a:r>
            <a:r>
              <a:rPr lang="es-ES" sz="2800" b="1">
                <a:latin typeface="Arial"/>
                <a:cs typeface="Arial"/>
              </a:rPr>
              <a:t> differentiation </a:t>
            </a:r>
            <a:r>
              <a:rPr lang="es-ES" sz="2800" b="1" err="1">
                <a:latin typeface="Arial"/>
                <a:cs typeface="Arial"/>
              </a:rPr>
              <a:t>let’s</a:t>
            </a:r>
            <a:r>
              <a:rPr lang="es-ES" sz="2800" b="1">
                <a:latin typeface="Arial"/>
                <a:cs typeface="Arial"/>
              </a:rPr>
              <a:t> </a:t>
            </a:r>
            <a:r>
              <a:rPr lang="es-ES" sz="2800" b="1" err="1">
                <a:latin typeface="Arial"/>
                <a:cs typeface="Arial"/>
              </a:rPr>
              <a:t>understand</a:t>
            </a:r>
            <a:r>
              <a:rPr lang="es-ES" sz="2800" b="1">
                <a:latin typeface="Arial"/>
                <a:cs typeface="Arial"/>
              </a:rPr>
              <a:t> </a:t>
            </a:r>
            <a:r>
              <a:rPr lang="es-ES" sz="2800" b="1" err="1">
                <a:latin typeface="Arial"/>
                <a:cs typeface="Arial"/>
              </a:rPr>
              <a:t>our</a:t>
            </a:r>
            <a:r>
              <a:rPr lang="es-ES" sz="2800" b="1">
                <a:latin typeface="Arial"/>
                <a:cs typeface="Arial"/>
              </a:rPr>
              <a:t> </a:t>
            </a:r>
            <a:r>
              <a:rPr lang="es-ES" sz="2800" b="1" err="1">
                <a:latin typeface="Arial"/>
                <a:cs typeface="Arial"/>
              </a:rPr>
              <a:t>competitive</a:t>
            </a:r>
            <a:r>
              <a:rPr lang="es-ES" sz="2800" b="1">
                <a:latin typeface="Arial"/>
                <a:cs typeface="Arial"/>
              </a:rPr>
              <a:t> </a:t>
            </a:r>
            <a:r>
              <a:rPr lang="es-ES" sz="2800" b="1" err="1">
                <a:latin typeface="Arial"/>
                <a:cs typeface="Arial"/>
              </a:rPr>
              <a:t>advantage</a:t>
            </a:r>
            <a:r>
              <a:rPr lang="es-ES" sz="2800" b="1">
                <a:latin typeface="Arial"/>
                <a:cs typeface="Arial"/>
              </a:rPr>
              <a:t>:</a:t>
            </a:r>
          </a:p>
          <a:p>
            <a:endParaRPr lang="es-ES" sz="2800">
              <a:latin typeface="Arial"/>
              <a:cs typeface="Arial"/>
            </a:endParaRPr>
          </a:p>
          <a:p>
            <a:endParaRPr lang="es-ES" sz="2800">
              <a:latin typeface="Arial"/>
              <a:cs typeface="Arial"/>
            </a:endParaRPr>
          </a:p>
          <a:p>
            <a:endParaRPr lang="es-ES" sz="2800" b="1">
              <a:latin typeface="Calibri"/>
              <a:cs typeface="Calibri"/>
            </a:endParaRP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9B61B7A-9DA6-42E9-8BFA-1283D249C634}"/>
              </a:ext>
            </a:extLst>
          </p:cNvPr>
          <p:cNvSpPr/>
          <p:nvPr/>
        </p:nvSpPr>
        <p:spPr>
          <a:xfrm>
            <a:off x="1835035" y="3523246"/>
            <a:ext cx="2897604" cy="2717130"/>
          </a:xfrm>
          <a:prstGeom prst="ellipse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solidFill>
                  <a:schemeClr val="tx1"/>
                </a:solidFill>
                <a:latin typeface="Arial"/>
                <a:cs typeface="Calibri"/>
              </a:rPr>
              <a:t>Ocean Blue</a:t>
            </a:r>
          </a:p>
          <a:p>
            <a:pPr algn="ctr"/>
            <a:r>
              <a:rPr lang="en-GB" sz="2400" b="1">
                <a:solidFill>
                  <a:schemeClr val="tx1"/>
                </a:solidFill>
                <a:latin typeface="Arial"/>
                <a:cs typeface="Calibri"/>
              </a:rPr>
              <a:t>Analysi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472810B-423A-4228-A6BB-30878B08D460}"/>
              </a:ext>
            </a:extLst>
          </p:cNvPr>
          <p:cNvSpPr/>
          <p:nvPr/>
        </p:nvSpPr>
        <p:spPr>
          <a:xfrm>
            <a:off x="6841958" y="3483141"/>
            <a:ext cx="2937710" cy="2757235"/>
          </a:xfrm>
          <a:prstGeom prst="ellipse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2400" b="1">
                <a:solidFill>
                  <a:schemeClr val="tx1"/>
                </a:solidFill>
                <a:latin typeface="Arial"/>
                <a:cs typeface="Calibri"/>
              </a:rPr>
              <a:t>Competitor's</a:t>
            </a:r>
          </a:p>
          <a:p>
            <a:pPr algn="ctr"/>
            <a:r>
              <a:rPr lang="en-GB" sz="2400" b="1">
                <a:solidFill>
                  <a:schemeClr val="tx1"/>
                </a:solidFill>
                <a:latin typeface="Arial"/>
                <a:cs typeface="Calibri"/>
              </a:rPr>
              <a:t>Analysis</a:t>
            </a:r>
          </a:p>
        </p:txBody>
      </p:sp>
      <p:sp>
        <p:nvSpPr>
          <p:cNvPr id="6" name="Arrow: Left-Right 5">
            <a:extLst>
              <a:ext uri="{FF2B5EF4-FFF2-40B4-BE49-F238E27FC236}">
                <a16:creationId xmlns:a16="http://schemas.microsoft.com/office/drawing/2014/main" id="{18EE9670-DC93-4A8E-B1E9-FC65242E44AD}"/>
              </a:ext>
            </a:extLst>
          </p:cNvPr>
          <p:cNvSpPr/>
          <p:nvPr/>
        </p:nvSpPr>
        <p:spPr>
          <a:xfrm>
            <a:off x="5289904" y="4622953"/>
            <a:ext cx="1213184" cy="481263"/>
          </a:xfrm>
          <a:prstGeom prst="left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6827B22B-1A0C-B7CB-2FCB-02AA0B5028C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1981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725272" y="1427200"/>
            <a:ext cx="10263370" cy="458587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s-ES" b="1" err="1">
                <a:latin typeface="Arial"/>
                <a:cs typeface="Arial"/>
              </a:rPr>
              <a:t>About</a:t>
            </a:r>
            <a:r>
              <a:rPr lang="es-ES" b="1">
                <a:latin typeface="Arial"/>
                <a:cs typeface="Arial"/>
              </a:rPr>
              <a:t> </a:t>
            </a:r>
            <a:r>
              <a:rPr lang="es-ES" b="1" err="1">
                <a:latin typeface="Arial"/>
                <a:cs typeface="Arial"/>
              </a:rPr>
              <a:t>differentiation</a:t>
            </a:r>
            <a:r>
              <a:rPr lang="es-ES" b="1">
                <a:latin typeface="Arial"/>
                <a:cs typeface="Arial"/>
              </a:rPr>
              <a:t>… </a:t>
            </a:r>
            <a:r>
              <a:rPr lang="es-ES" b="1" err="1">
                <a:latin typeface="Arial"/>
                <a:cs typeface="Arial"/>
              </a:rPr>
              <a:t>let’s</a:t>
            </a:r>
            <a:r>
              <a:rPr lang="es-ES" b="1">
                <a:latin typeface="Arial"/>
                <a:cs typeface="Arial"/>
              </a:rPr>
              <a:t> </a:t>
            </a:r>
            <a:r>
              <a:rPr lang="es-ES" b="1" err="1">
                <a:latin typeface="Arial"/>
                <a:cs typeface="Arial"/>
              </a:rPr>
              <a:t>understand</a:t>
            </a:r>
            <a:r>
              <a:rPr lang="es-ES" b="1">
                <a:latin typeface="Arial"/>
                <a:cs typeface="Arial"/>
              </a:rPr>
              <a:t> </a:t>
            </a:r>
            <a:r>
              <a:rPr lang="es-ES" b="1" err="1">
                <a:latin typeface="Arial"/>
                <a:cs typeface="Arial"/>
              </a:rPr>
              <a:t>our</a:t>
            </a:r>
            <a:r>
              <a:rPr lang="es-ES" b="1">
                <a:latin typeface="Arial"/>
                <a:cs typeface="Arial"/>
              </a:rPr>
              <a:t> </a:t>
            </a:r>
            <a:r>
              <a:rPr lang="es-ES" b="1" err="1">
                <a:latin typeface="Arial"/>
                <a:cs typeface="Arial"/>
              </a:rPr>
              <a:t>competitive</a:t>
            </a:r>
            <a:r>
              <a:rPr lang="es-ES" b="1">
                <a:latin typeface="Arial"/>
                <a:cs typeface="Arial"/>
              </a:rPr>
              <a:t> </a:t>
            </a:r>
            <a:r>
              <a:rPr lang="es-ES" b="1" err="1">
                <a:latin typeface="Arial"/>
                <a:cs typeface="Arial"/>
              </a:rPr>
              <a:t>advantage</a:t>
            </a:r>
            <a:r>
              <a:rPr lang="es-ES" b="1">
                <a:latin typeface="Arial"/>
                <a:cs typeface="Arial"/>
              </a:rPr>
              <a:t>: UNFAIR ADVANTAGE</a:t>
            </a: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>
              <a:cs typeface="Calibri"/>
            </a:endParaRPr>
          </a:p>
          <a:p>
            <a:endParaRPr lang="es-ES">
              <a:cs typeface="Calibri"/>
            </a:endParaRPr>
          </a:p>
          <a:p>
            <a:endParaRPr lang="es-ES"/>
          </a:p>
          <a:p>
            <a:endParaRPr lang="es-ES" sz="2000">
              <a:cs typeface="Calibri"/>
            </a:endParaRPr>
          </a:p>
          <a:p>
            <a:r>
              <a:rPr lang="es-ES" sz="2000" b="1">
                <a:latin typeface="Arial"/>
                <a:cs typeface="Arial"/>
              </a:rPr>
              <a:t>OCEAN BLUE ANALYSIS</a:t>
            </a: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FCB2485-F525-4D29-B567-4B765CB0DB6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921" y="1987382"/>
            <a:ext cx="7094853" cy="4666761"/>
          </a:xfrm>
          <a:prstGeom prst="rect">
            <a:avLst/>
          </a:prstGeom>
        </p:spPr>
      </p:pic>
      <p:pic>
        <p:nvPicPr>
          <p:cNvPr id="7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7318484F-20ED-2CF2-3585-AEABA6A797E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0352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716476" y="3216874"/>
            <a:ext cx="3565792" cy="34163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ES" b="1" err="1">
                <a:latin typeface="Arial"/>
                <a:cs typeface="Arial"/>
              </a:rPr>
              <a:t>First</a:t>
            </a:r>
            <a:r>
              <a:rPr lang="es-ES" b="1">
                <a:latin typeface="Arial"/>
                <a:cs typeface="Arial"/>
              </a:rPr>
              <a:t> step</a:t>
            </a:r>
          </a:p>
          <a:p>
            <a:endParaRPr lang="es-ES"/>
          </a:p>
          <a:p>
            <a:r>
              <a:rPr lang="es-ES" b="1">
                <a:latin typeface="Arial"/>
                <a:cs typeface="Arial"/>
              </a:rPr>
              <a:t>COMPETITOR’S </a:t>
            </a:r>
            <a:r>
              <a:rPr lang="en-US" b="1">
                <a:latin typeface="Arial"/>
                <a:cs typeface="Arial"/>
              </a:rPr>
              <a:t>Analysis</a:t>
            </a: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A9EBC4ED-8990-40FF-A8EB-126A818E130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17224" y="1875753"/>
            <a:ext cx="7534988" cy="4393946"/>
          </a:xfrm>
          <a:prstGeom prst="rect">
            <a:avLst/>
          </a:prstGeom>
        </p:spPr>
      </p:pic>
      <p:pic>
        <p:nvPicPr>
          <p:cNvPr id="7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F9DFDDD4-085A-1703-E7DC-747F69796E3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1653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275318" y="1712928"/>
            <a:ext cx="9922476" cy="480131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endParaRPr lang="es-ES" b="1">
              <a:latin typeface="Arial"/>
              <a:cs typeface="Arial"/>
            </a:endParaRPr>
          </a:p>
          <a:p>
            <a:r>
              <a:rPr lang="es-ES" b="1">
                <a:latin typeface="Arial"/>
                <a:cs typeface="Arial"/>
              </a:rPr>
              <a:t>OCEAN BLUE ANALYSYS</a:t>
            </a:r>
            <a:r>
              <a:rPr lang="es-ES">
                <a:latin typeface="Arial"/>
                <a:cs typeface="Arial"/>
              </a:rPr>
              <a:t> (</a:t>
            </a:r>
            <a:r>
              <a:rPr lang="es-ES" err="1">
                <a:latin typeface="Arial"/>
                <a:cs typeface="Arial"/>
              </a:rPr>
              <a:t>example</a:t>
            </a:r>
            <a:r>
              <a:rPr lang="es-ES">
                <a:latin typeface="Arial"/>
                <a:cs typeface="Arial"/>
              </a:rPr>
              <a:t>)</a:t>
            </a:r>
          </a:p>
          <a:p>
            <a:endParaRPr lang="es-ES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r>
              <a:rPr lang="en-US" b="1">
                <a:latin typeface="Arial"/>
                <a:cs typeface="Arial"/>
              </a:rPr>
              <a:t>Step 1:</a:t>
            </a:r>
            <a:r>
              <a:rPr lang="en-US">
                <a:latin typeface="Arial"/>
                <a:cs typeface="Arial"/>
              </a:rPr>
              <a:t> Create A Strategy Canvas</a:t>
            </a:r>
          </a:p>
          <a:p>
            <a:r>
              <a:rPr lang="en-US" b="1">
                <a:latin typeface="Arial"/>
                <a:cs typeface="Arial"/>
              </a:rPr>
              <a:t>Step 2:</a:t>
            </a:r>
            <a:r>
              <a:rPr lang="en-US">
                <a:latin typeface="Arial"/>
                <a:cs typeface="Arial"/>
              </a:rPr>
              <a:t> Raise An Attribute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s-ES">
                <a:latin typeface="Arial"/>
                <a:cs typeface="Arial"/>
              </a:rPr>
              <a:t> </a:t>
            </a:r>
            <a:r>
              <a:rPr lang="es-ES" err="1">
                <a:latin typeface="Arial"/>
                <a:cs typeface="Arial"/>
              </a:rPr>
              <a:t>Raise</a:t>
            </a:r>
            <a:endParaRPr lang="es-ES">
              <a:latin typeface="Arial"/>
              <a:cs typeface="Arial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s-ES">
                <a:latin typeface="Arial"/>
                <a:cs typeface="Arial"/>
              </a:rPr>
              <a:t> Reduce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s-ES">
                <a:latin typeface="Arial"/>
                <a:cs typeface="Arial"/>
              </a:rPr>
              <a:t> </a:t>
            </a:r>
            <a:r>
              <a:rPr lang="es-ES" err="1">
                <a:latin typeface="Arial"/>
                <a:cs typeface="Arial"/>
              </a:rPr>
              <a:t>Eliminate</a:t>
            </a:r>
            <a:endParaRPr lang="es-ES">
              <a:latin typeface="Arial"/>
              <a:cs typeface="Arial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s-ES">
                <a:latin typeface="Arial"/>
                <a:cs typeface="Arial"/>
              </a:rPr>
              <a:t> </a:t>
            </a:r>
            <a:r>
              <a:rPr lang="es-ES" err="1">
                <a:latin typeface="Arial"/>
                <a:cs typeface="Arial"/>
              </a:rPr>
              <a:t>Create</a:t>
            </a:r>
            <a:endParaRPr lang="es-ES">
              <a:latin typeface="Arial"/>
              <a:cs typeface="Arial"/>
            </a:endParaRPr>
          </a:p>
          <a:p>
            <a:r>
              <a:rPr lang="en-US" b="1">
                <a:latin typeface="Arial"/>
                <a:cs typeface="Arial"/>
              </a:rPr>
              <a:t>Step 3:</a:t>
            </a:r>
            <a:r>
              <a:rPr lang="en-US">
                <a:latin typeface="Arial"/>
                <a:cs typeface="Arial"/>
              </a:rPr>
              <a:t> Reduce An Attribute</a:t>
            </a:r>
          </a:p>
          <a:p>
            <a:r>
              <a:rPr lang="en-US" b="1">
                <a:latin typeface="Arial"/>
                <a:cs typeface="Arial"/>
              </a:rPr>
              <a:t>Step 4: </a:t>
            </a:r>
            <a:r>
              <a:rPr lang="en-US">
                <a:latin typeface="Arial"/>
                <a:cs typeface="Arial"/>
              </a:rPr>
              <a:t>Eliminate An Attribute</a:t>
            </a:r>
          </a:p>
          <a:p>
            <a:r>
              <a:rPr lang="en-US" b="1">
                <a:latin typeface="Arial"/>
                <a:cs typeface="Arial"/>
              </a:rPr>
              <a:t>Step 5:</a:t>
            </a:r>
            <a:r>
              <a:rPr lang="en-US">
                <a:latin typeface="Arial"/>
                <a:cs typeface="Arial"/>
              </a:rPr>
              <a:t> Create An Attribute</a:t>
            </a:r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F134291-C721-46B5-927D-4A20D96140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8224" y="1524996"/>
            <a:ext cx="7546705" cy="5027693"/>
          </a:xfrm>
          <a:prstGeom prst="rect">
            <a:avLst/>
          </a:prstGeom>
        </p:spPr>
      </p:pic>
      <p:pic>
        <p:nvPicPr>
          <p:cNvPr id="7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D9F34A41-0340-F88B-8399-37E65626939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4925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40557" y="2484442"/>
            <a:ext cx="9922476" cy="30777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>
                <a:solidFill>
                  <a:srgbClr val="2A2A2A"/>
                </a:solidFill>
                <a:latin typeface="Arial"/>
                <a:cs typeface="Arial"/>
              </a:rPr>
              <a:t>       </a:t>
            </a:r>
            <a:r>
              <a:rPr lang="en-US" sz="3200" i="1">
                <a:solidFill>
                  <a:srgbClr val="2A2A2A"/>
                </a:solidFill>
                <a:latin typeface="Arial"/>
                <a:cs typeface="Arial"/>
              </a:rPr>
              <a:t>EXERCISE 7) OCEAN BLUE CANVAS</a:t>
            </a: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s-ES" b="1">
              <a:latin typeface="Arial"/>
              <a:cs typeface="Arial"/>
            </a:endParaRPr>
          </a:p>
        </p:txBody>
      </p:sp>
      <p:pic>
        <p:nvPicPr>
          <p:cNvPr id="6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E071F0E2-8B70-9098-B3E4-FE16A9516B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4823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255266" y="1712927"/>
            <a:ext cx="10223265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r>
              <a:rPr lang="es-ES"/>
              <a:t>COMPETITOR’S ANALYSIS XLS</a:t>
            </a:r>
          </a:p>
          <a:p>
            <a:endParaRPr lang="es-ES"/>
          </a:p>
          <a:p>
            <a:r>
              <a:rPr lang="es-ES" err="1">
                <a:hlinkClick r:id="rId9" action="ppaction://hlinkfile"/>
              </a:rPr>
              <a:t>Competitors</a:t>
            </a:r>
            <a:r>
              <a:rPr lang="es-ES">
                <a:hlinkClick r:id="rId9" action="ppaction://hlinkfile"/>
              </a:rPr>
              <a:t> Analysis.xls</a:t>
            </a:r>
            <a:r>
              <a:rPr lang="es-ES"/>
              <a:t> </a:t>
            </a:r>
          </a:p>
        </p:txBody>
      </p:sp>
      <p:pic>
        <p:nvPicPr>
          <p:cNvPr id="6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C8DDBFC9-79F7-F657-A083-E7C40568A0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0257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</a:t>
            </a:r>
            <a:b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233" y="186439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40557" y="2484442"/>
            <a:ext cx="9922476" cy="28623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>
                <a:solidFill>
                  <a:srgbClr val="2A2A2A"/>
                </a:solidFill>
                <a:latin typeface="Arial"/>
                <a:cs typeface="Arial"/>
              </a:rPr>
              <a:t>     </a:t>
            </a:r>
            <a:endParaRPr lang="en-US" sz="3200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n-US" b="1" i="1">
              <a:solidFill>
                <a:srgbClr val="2A2A2A"/>
              </a:solidFill>
              <a:latin typeface="Arial"/>
              <a:cs typeface="Arial"/>
            </a:endParaRPr>
          </a:p>
          <a:p>
            <a:endParaRPr lang="es-ES" b="1">
              <a:latin typeface="Arial"/>
              <a:cs typeface="Arial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C886747-9260-4A1A-9D43-D276C21241D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4708" y="7327"/>
            <a:ext cx="8875059" cy="6858000"/>
          </a:xfrm>
          <a:prstGeom prst="rect">
            <a:avLst/>
          </a:prstGeom>
        </p:spPr>
      </p:pic>
      <p:pic>
        <p:nvPicPr>
          <p:cNvPr id="7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FFD7C8D8-6C69-D510-AD61-2020420DB48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888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74870" y="363686"/>
            <a:ext cx="12337143" cy="455826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0"/>
              </a:spcBef>
            </a:pPr>
            <a:r>
              <a:rPr lang="es-ES" sz="2650" b="1" dirty="0">
                <a:solidFill>
                  <a:srgbClr val="009999"/>
                </a:solidFill>
                <a:ea typeface="+mj-ea"/>
              </a:rPr>
              <a:t>DEVELOPING YOUR BUSINESS MODEL</a:t>
            </a:r>
          </a:p>
          <a:p>
            <a:endParaRPr lang="es-ES" sz="2267"/>
          </a:p>
          <a:p>
            <a:endParaRPr lang="es-ES" sz="2267"/>
          </a:p>
          <a:p>
            <a:endParaRPr lang="es-ES" sz="2267"/>
          </a:p>
          <a:p>
            <a:pPr marL="608965" lvl="1" indent="0">
              <a:buNone/>
            </a:pPr>
            <a:r>
              <a:rPr lang="es-ES" sz="2250" dirty="0"/>
              <a:t>YOUR IDEA</a:t>
            </a:r>
            <a:endParaRPr lang="es-ES" sz="2250" dirty="0">
              <a:ea typeface="Calibri"/>
              <a:cs typeface="Calibri"/>
            </a:endParaRPr>
          </a:p>
          <a:p>
            <a:pPr marL="608965" lvl="1" indent="0">
              <a:buNone/>
            </a:pPr>
            <a:r>
              <a:rPr lang="es-ES" sz="2250" dirty="0"/>
              <a:t>YOUR MARKET SEGMENTATION</a:t>
            </a:r>
            <a:endParaRPr lang="es-ES" sz="2250" dirty="0">
              <a:ea typeface="Calibri"/>
              <a:cs typeface="Calibri"/>
            </a:endParaRPr>
          </a:p>
          <a:p>
            <a:pPr marL="608965" lvl="1" indent="0">
              <a:buNone/>
            </a:pPr>
            <a:r>
              <a:rPr lang="es-ES" sz="2250" dirty="0"/>
              <a:t>YOUR BEACHEADED MARKET</a:t>
            </a:r>
            <a:endParaRPr lang="es-ES" sz="2250" dirty="0">
              <a:ea typeface="Calibri"/>
              <a:cs typeface="Calibri"/>
            </a:endParaRPr>
          </a:p>
          <a:p>
            <a:pPr marL="608965" lvl="1" indent="0">
              <a:buNone/>
            </a:pPr>
            <a:r>
              <a:rPr lang="es-ES" sz="2250" dirty="0"/>
              <a:t>YOUR BUYER PERSONA </a:t>
            </a:r>
            <a:endParaRPr lang="es-ES" sz="2250" dirty="0">
              <a:ea typeface="Calibri"/>
              <a:cs typeface="Calibri"/>
            </a:endParaRPr>
          </a:p>
          <a:p>
            <a:pPr marL="608965" lvl="1" indent="0">
              <a:buNone/>
            </a:pPr>
            <a:r>
              <a:rPr lang="es-ES" sz="2250"/>
              <a:t>(</a:t>
            </a:r>
            <a:r>
              <a:rPr lang="es-ES" sz="2250" err="1"/>
              <a:t>Through</a:t>
            </a:r>
            <a:r>
              <a:rPr lang="es-ES" sz="2250" dirty="0"/>
              <a:t> </a:t>
            </a:r>
            <a:r>
              <a:rPr lang="es-ES" sz="2250" err="1"/>
              <a:t>the</a:t>
            </a:r>
            <a:r>
              <a:rPr lang="es-ES" sz="2250" dirty="0"/>
              <a:t> </a:t>
            </a:r>
            <a:r>
              <a:rPr lang="es-ES" sz="2250"/>
              <a:t>Empathy Chart)</a:t>
            </a:r>
            <a:endParaRPr lang="es-ES" sz="2250">
              <a:ea typeface="Calibri"/>
              <a:cs typeface="Calibri"/>
            </a:endParaRPr>
          </a:p>
          <a:p>
            <a:pPr marL="609585" lvl="1" indent="0">
              <a:buNone/>
            </a:pPr>
            <a:endParaRPr lang="en-GB" sz="2267"/>
          </a:p>
        </p:txBody>
      </p:sp>
      <p:sp>
        <p:nvSpPr>
          <p:cNvPr id="4" name="Flecha: hacia abajo 3"/>
          <p:cNvSpPr/>
          <p:nvPr/>
        </p:nvSpPr>
        <p:spPr>
          <a:xfrm>
            <a:off x="370057" y="1914460"/>
            <a:ext cx="486500" cy="3230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>
              <a:solidFill>
                <a:srgbClr val="009999"/>
              </a:solidFill>
            </a:endParaRPr>
          </a:p>
        </p:txBody>
      </p:sp>
      <p:pic>
        <p:nvPicPr>
          <p:cNvPr id="6" name="Marcador de contenido 4">
            <a:extLst>
              <a:ext uri="{FF2B5EF4-FFF2-40B4-BE49-F238E27FC236}">
                <a16:creationId xmlns:a16="http://schemas.microsoft.com/office/drawing/2014/main" id="{DC594BA8-2FEF-4E45-A85A-099EFDB26E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5392" y="1609879"/>
            <a:ext cx="7256608" cy="3542889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07215E36-4997-4DC6-9D58-EA59594CCDAB}"/>
              </a:ext>
            </a:extLst>
          </p:cNvPr>
          <p:cNvSpPr txBox="1"/>
          <p:nvPr/>
        </p:nvSpPr>
        <p:spPr>
          <a:xfrm>
            <a:off x="1956679" y="4558017"/>
            <a:ext cx="2709333" cy="156966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ca-ES" sz="2400"/>
              <a:t>TO YOUR</a:t>
            </a:r>
          </a:p>
          <a:p>
            <a:r>
              <a:rPr lang="ca-ES" sz="2400"/>
              <a:t>VALUE PROPOSITION CANVA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C2099E4-EAFA-4F03-9E9B-56A2594ABA81}"/>
              </a:ext>
            </a:extLst>
          </p:cNvPr>
          <p:cNvSpPr txBox="1"/>
          <p:nvPr/>
        </p:nvSpPr>
        <p:spPr>
          <a:xfrm>
            <a:off x="1706046" y="1379046"/>
            <a:ext cx="2709333" cy="461665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ca-ES" sz="2400"/>
              <a:t>FROM THE WHY</a:t>
            </a:r>
          </a:p>
        </p:txBody>
      </p:sp>
    </p:spTree>
    <p:extLst>
      <p:ext uri="{BB962C8B-B14F-4D97-AF65-F5344CB8AC3E}">
        <p14:creationId xmlns:p14="http://schemas.microsoft.com/office/powerpoint/2010/main" val="31830472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806713" y="2073875"/>
            <a:ext cx="9922476" cy="33547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endParaRPr lang="es-ES"/>
          </a:p>
          <a:p>
            <a:endParaRPr lang="es-ES"/>
          </a:p>
          <a:p>
            <a:r>
              <a:rPr lang="es-ES" b="1">
                <a:latin typeface="Arial"/>
                <a:cs typeface="Arial"/>
              </a:rPr>
              <a:t>And </a:t>
            </a:r>
            <a:r>
              <a:rPr lang="es-ES" b="1" err="1">
                <a:latin typeface="Arial"/>
                <a:cs typeface="Arial"/>
              </a:rPr>
              <a:t>now</a:t>
            </a:r>
            <a:r>
              <a:rPr lang="es-ES" b="1">
                <a:latin typeface="Arial"/>
                <a:cs typeface="Arial"/>
              </a:rPr>
              <a:t>…. </a:t>
            </a:r>
            <a:r>
              <a:rPr lang="es-ES" b="1" err="1">
                <a:latin typeface="Arial"/>
                <a:cs typeface="Arial"/>
              </a:rPr>
              <a:t>The</a:t>
            </a:r>
            <a:r>
              <a:rPr lang="es-ES" b="1">
                <a:latin typeface="Arial"/>
                <a:cs typeface="Arial"/>
              </a:rPr>
              <a:t> </a:t>
            </a:r>
            <a:r>
              <a:rPr lang="es-ES" b="1" err="1">
                <a:latin typeface="Arial"/>
                <a:cs typeface="Arial"/>
              </a:rPr>
              <a:t>size</a:t>
            </a:r>
            <a:r>
              <a:rPr lang="es-ES" b="1">
                <a:latin typeface="Arial"/>
                <a:cs typeface="Arial"/>
              </a:rPr>
              <a:t>…. </a:t>
            </a:r>
            <a:r>
              <a:rPr lang="es-ES" sz="3200" b="1" err="1">
                <a:latin typeface="Arial"/>
                <a:cs typeface="Arial"/>
              </a:rPr>
              <a:t>How</a:t>
            </a:r>
            <a:r>
              <a:rPr lang="es-ES" sz="3200" b="1">
                <a:latin typeface="Arial"/>
                <a:cs typeface="Arial"/>
              </a:rPr>
              <a:t> </a:t>
            </a:r>
            <a:r>
              <a:rPr lang="es-ES" sz="3200" b="1" err="1">
                <a:latin typeface="Arial"/>
                <a:cs typeface="Arial"/>
              </a:rPr>
              <a:t>big</a:t>
            </a:r>
            <a:r>
              <a:rPr lang="es-ES" sz="3200" b="1">
                <a:latin typeface="Arial"/>
                <a:cs typeface="Arial"/>
              </a:rPr>
              <a:t> </a:t>
            </a:r>
            <a:r>
              <a:rPr lang="es-ES" sz="3200" b="1" err="1">
                <a:latin typeface="Arial"/>
                <a:cs typeface="Arial"/>
              </a:rPr>
              <a:t>is</a:t>
            </a:r>
            <a:r>
              <a:rPr lang="es-ES" sz="3200" b="1">
                <a:latin typeface="Arial"/>
                <a:cs typeface="Arial"/>
              </a:rPr>
              <a:t> </a:t>
            </a:r>
            <a:r>
              <a:rPr lang="es-ES" sz="3200" b="1" err="1">
                <a:latin typeface="Arial"/>
                <a:cs typeface="Arial"/>
              </a:rPr>
              <a:t>your</a:t>
            </a:r>
            <a:r>
              <a:rPr lang="es-ES" sz="3200" b="1">
                <a:latin typeface="Arial"/>
                <a:cs typeface="Arial"/>
              </a:rPr>
              <a:t> </a:t>
            </a:r>
            <a:r>
              <a:rPr lang="es-ES" sz="3200" b="1" err="1">
                <a:latin typeface="Arial"/>
                <a:cs typeface="Arial"/>
              </a:rPr>
              <a:t>market</a:t>
            </a:r>
            <a:r>
              <a:rPr lang="es-ES" sz="3200" b="1">
                <a:latin typeface="Arial"/>
                <a:cs typeface="Arial"/>
              </a:rPr>
              <a:t>…?</a:t>
            </a:r>
          </a:p>
          <a:p>
            <a:endParaRPr lang="es-ES"/>
          </a:p>
          <a:p>
            <a:r>
              <a:rPr lang="es-ES"/>
              <a:t> </a:t>
            </a: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758572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392599" y="1562316"/>
            <a:ext cx="9922476" cy="38164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 b="1" dirty="0">
                <a:latin typeface="Arial"/>
                <a:cs typeface="Arial"/>
              </a:rPr>
              <a:t>And then which piece of cake we could realistically to get</a:t>
            </a:r>
          </a:p>
          <a:p>
            <a:endParaRPr lang="es-ES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r>
              <a:rPr lang="es-ES" sz="2400" b="1" dirty="0">
                <a:latin typeface="Arial"/>
                <a:cs typeface="Arial"/>
              </a:rPr>
              <a:t>TAM, Sam, SOM </a:t>
            </a:r>
            <a:r>
              <a:rPr lang="en-US" sz="2400" b="1" dirty="0">
                <a:latin typeface="Arial"/>
                <a:cs typeface="Arial"/>
              </a:rPr>
              <a:t>concepts</a:t>
            </a:r>
            <a:r>
              <a:rPr lang="es-ES" sz="2400" b="1" dirty="0">
                <a:latin typeface="Arial"/>
                <a:cs typeface="Arial"/>
              </a:rPr>
              <a:t> </a:t>
            </a:r>
            <a:endParaRPr lang="es-ES" sz="2400" dirty="0">
              <a:cs typeface="Calibri"/>
            </a:endParaRP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5" name="Picture 2" descr="Resultado de imagen de TAM, SAM,SOM">
            <a:extLst>
              <a:ext uri="{FF2B5EF4-FFF2-40B4-BE49-F238E27FC236}">
                <a16:creationId xmlns:a16="http://schemas.microsoft.com/office/drawing/2014/main" id="{645D74CF-E648-4E5F-B039-E6B4470CA1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256" y="2100846"/>
            <a:ext cx="6613521" cy="4643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6095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56055" y="1652770"/>
            <a:ext cx="9922476" cy="51398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2000" b="1">
              <a:cs typeface="Calibri"/>
            </a:endParaRPr>
          </a:p>
          <a:p>
            <a:r>
              <a:rPr lang="es-ES" sz="2000" b="1">
                <a:latin typeface="Arial"/>
                <a:cs typeface="Arial"/>
              </a:rPr>
              <a:t>And </a:t>
            </a:r>
            <a:r>
              <a:rPr lang="es-ES" sz="2000" b="1" err="1">
                <a:latin typeface="Arial"/>
                <a:cs typeface="Arial"/>
              </a:rPr>
              <a:t>then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is</a:t>
            </a:r>
            <a:r>
              <a:rPr lang="es-ES" sz="2000" b="1">
                <a:latin typeface="Arial"/>
                <a:cs typeface="Arial"/>
              </a:rPr>
              <a:t> time </a:t>
            </a:r>
            <a:r>
              <a:rPr lang="es-ES" sz="2000" b="1" err="1">
                <a:latin typeface="Arial"/>
                <a:cs typeface="Arial"/>
              </a:rPr>
              <a:t>for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the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second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part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of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the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canvas</a:t>
            </a:r>
            <a:endParaRPr lang="es-ES" sz="2000" b="1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r>
              <a:rPr lang="es-ES" err="1">
                <a:latin typeface="Arial"/>
                <a:cs typeface="Arial"/>
              </a:rPr>
              <a:t>First</a:t>
            </a:r>
            <a:r>
              <a:rPr lang="es-ES">
                <a:latin typeface="Arial"/>
                <a:cs typeface="Arial"/>
              </a:rPr>
              <a:t> </a:t>
            </a:r>
            <a:r>
              <a:rPr lang="es-ES" err="1">
                <a:latin typeface="Arial"/>
                <a:cs typeface="Arial"/>
              </a:rPr>
              <a:t>approximation</a:t>
            </a:r>
            <a:r>
              <a:rPr lang="es-ES">
                <a:latin typeface="Arial"/>
                <a:cs typeface="Arial"/>
              </a:rPr>
              <a:t>:</a:t>
            </a:r>
            <a:endParaRPr lang="es-ES">
              <a:cs typeface="Calibri"/>
            </a:endParaRPr>
          </a:p>
          <a:p>
            <a:endParaRPr lang="es-ES" b="1">
              <a:latin typeface="Arial"/>
              <a:cs typeface="Arial"/>
            </a:endParaRPr>
          </a:p>
          <a:p>
            <a:r>
              <a:rPr lang="es-ES" b="1">
                <a:latin typeface="Arial"/>
                <a:cs typeface="Arial"/>
              </a:rPr>
              <a:t>INCOMES</a:t>
            </a:r>
          </a:p>
          <a:p>
            <a:endParaRPr lang="es-ES" b="1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err="1">
                <a:latin typeface="Arial"/>
                <a:cs typeface="Arial"/>
              </a:rPr>
              <a:t>Revenue</a:t>
            </a:r>
            <a:r>
              <a:rPr lang="es-ES">
                <a:latin typeface="Arial"/>
                <a:cs typeface="Arial"/>
              </a:rPr>
              <a:t> </a:t>
            </a:r>
            <a:r>
              <a:rPr lang="es-ES" err="1">
                <a:latin typeface="Arial"/>
                <a:cs typeface="Arial"/>
              </a:rPr>
              <a:t>Model</a:t>
            </a:r>
            <a:endParaRPr lang="es-ES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>
                <a:latin typeface="Arial"/>
                <a:cs typeface="Arial"/>
              </a:rPr>
              <a:t>LT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err="1">
                <a:latin typeface="Arial"/>
                <a:cs typeface="Arial"/>
              </a:rPr>
              <a:t>Revenue</a:t>
            </a:r>
            <a:endParaRPr lang="es-ES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>
                <a:latin typeface="Arial"/>
                <a:cs typeface="Arial"/>
              </a:rPr>
              <a:t>Gross </a:t>
            </a:r>
            <a:r>
              <a:rPr lang="es-ES" err="1">
                <a:latin typeface="Arial"/>
                <a:cs typeface="Arial"/>
              </a:rPr>
              <a:t>margin</a:t>
            </a:r>
            <a:endParaRPr lang="es-ES">
              <a:latin typeface="Arial"/>
              <a:cs typeface="Arial"/>
            </a:endParaRPr>
          </a:p>
          <a:p>
            <a:r>
              <a:rPr lang="es-ES" b="1">
                <a:latin typeface="Arial"/>
                <a:cs typeface="Arial"/>
              </a:rPr>
              <a:t>…</a:t>
            </a:r>
            <a:endParaRPr lang="es-ES" b="1">
              <a:cs typeface="Calibri"/>
            </a:endParaRP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588CDD11-17D8-4F4E-9EEA-6E0FC58CD6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0811" y="2587545"/>
            <a:ext cx="6833156" cy="4073545"/>
          </a:xfrm>
          <a:prstGeom prst="rect">
            <a:avLst/>
          </a:prstGeom>
        </p:spPr>
      </p:pic>
      <p:sp>
        <p:nvSpPr>
          <p:cNvPr id="7" name="Estrella: 5 puntas 6">
            <a:extLst>
              <a:ext uri="{FF2B5EF4-FFF2-40B4-BE49-F238E27FC236}">
                <a16:creationId xmlns:a16="http://schemas.microsoft.com/office/drawing/2014/main" id="{CAEF14AF-F58C-418A-A577-2A524B32708A}"/>
              </a:ext>
            </a:extLst>
          </p:cNvPr>
          <p:cNvSpPr/>
          <p:nvPr/>
        </p:nvSpPr>
        <p:spPr>
          <a:xfrm>
            <a:off x="9952864" y="5741494"/>
            <a:ext cx="632177" cy="643467"/>
          </a:xfrm>
          <a:prstGeom prst="star5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2400"/>
          </a:p>
        </p:txBody>
      </p:sp>
    </p:spTree>
    <p:extLst>
      <p:ext uri="{BB962C8B-B14F-4D97-AF65-F5344CB8AC3E}">
        <p14:creationId xmlns:p14="http://schemas.microsoft.com/office/powerpoint/2010/main" val="32024516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56055" y="1347139"/>
            <a:ext cx="9922476" cy="66590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2000" b="1">
              <a:cs typeface="Calibri"/>
            </a:endParaRPr>
          </a:p>
          <a:p>
            <a:r>
              <a:rPr lang="es-ES" sz="2000" b="1" err="1">
                <a:latin typeface="Arial"/>
                <a:cs typeface="Arial"/>
              </a:rPr>
              <a:t>Some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tips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about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revenues</a:t>
            </a:r>
            <a:r>
              <a:rPr lang="es-ES" sz="2000" b="1">
                <a:latin typeface="Arial"/>
                <a:cs typeface="Arial"/>
              </a:rPr>
              <a:t>….</a:t>
            </a:r>
          </a:p>
          <a:p>
            <a:endParaRPr lang="es-ES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pPr lvl="0" algn="just"/>
            <a:r>
              <a:rPr lang="en-GB" sz="1867">
                <a:solidFill>
                  <a:prstClr val="black"/>
                </a:solidFill>
              </a:rPr>
              <a:t>Defining</a:t>
            </a:r>
          </a:p>
          <a:p>
            <a:pPr lvl="0" algn="just"/>
            <a:endParaRPr lang="en-GB" sz="1867">
              <a:solidFill>
                <a:prstClr val="black"/>
              </a:solidFill>
            </a:endParaRPr>
          </a:p>
          <a:p>
            <a:pPr lvl="0" algn="just"/>
            <a:r>
              <a:rPr lang="en-GB" sz="1867" b="1" u="sng">
                <a:solidFill>
                  <a:prstClr val="black"/>
                </a:solidFill>
              </a:rPr>
              <a:t>Types of Revenue Streams</a:t>
            </a:r>
          </a:p>
          <a:p>
            <a:pPr lvl="1" algn="just"/>
            <a:r>
              <a:rPr lang="en-GB" sz="1867">
                <a:solidFill>
                  <a:prstClr val="black"/>
                </a:solidFill>
              </a:rPr>
              <a:t>Transaction revenues resulting from </a:t>
            </a:r>
            <a:r>
              <a:rPr lang="en-GB" sz="1867" u="sng">
                <a:solidFill>
                  <a:prstClr val="black"/>
                </a:solidFill>
              </a:rPr>
              <a:t>one-time customer payments</a:t>
            </a:r>
          </a:p>
          <a:p>
            <a:pPr lvl="1" algn="just"/>
            <a:r>
              <a:rPr lang="en-GB" sz="1867" u="sng">
                <a:solidFill>
                  <a:prstClr val="black"/>
                </a:solidFill>
              </a:rPr>
              <a:t>Recurring revenues </a:t>
            </a:r>
            <a:r>
              <a:rPr lang="en-GB" sz="1867">
                <a:solidFill>
                  <a:prstClr val="black"/>
                </a:solidFill>
              </a:rPr>
              <a:t>resulting from ongoing payments to either deliver a Value Proposition to customers or provide </a:t>
            </a:r>
            <a:r>
              <a:rPr lang="en-GB" sz="1867" u="sng">
                <a:solidFill>
                  <a:prstClr val="black"/>
                </a:solidFill>
              </a:rPr>
              <a:t>post-purchase customer support</a:t>
            </a:r>
          </a:p>
          <a:p>
            <a:pPr lvl="0" algn="just"/>
            <a:endParaRPr lang="en-GB" sz="1867" u="sng">
              <a:solidFill>
                <a:prstClr val="black"/>
              </a:solidFill>
            </a:endParaRPr>
          </a:p>
          <a:p>
            <a:pPr lvl="0" algn="just"/>
            <a:r>
              <a:rPr lang="en-GB" sz="1867" b="1" u="sng">
                <a:solidFill>
                  <a:prstClr val="black"/>
                </a:solidFill>
              </a:rPr>
              <a:t>Pricing mechanisms</a:t>
            </a:r>
            <a:r>
              <a:rPr lang="en-GB" sz="1867">
                <a:solidFill>
                  <a:prstClr val="black"/>
                </a:solidFill>
              </a:rPr>
              <a:t>, such as fixed list prices, bargaining, auctioning, market dependent, volume dependent, or yield management.</a:t>
            </a:r>
          </a:p>
          <a:p>
            <a:pPr lvl="0" algn="just"/>
            <a:endParaRPr lang="en-GB" sz="1867" u="sng">
              <a:solidFill>
                <a:prstClr val="black"/>
              </a:solidFill>
            </a:endParaRPr>
          </a:p>
          <a:p>
            <a:pPr lvl="0" algn="just"/>
            <a:r>
              <a:rPr lang="en-GB" sz="1867" b="1" u="sng">
                <a:solidFill>
                  <a:prstClr val="black"/>
                </a:solidFill>
              </a:rPr>
              <a:t>Payment Conditions</a:t>
            </a:r>
            <a:r>
              <a:rPr lang="en-GB" sz="1867" u="sng">
                <a:solidFill>
                  <a:prstClr val="black"/>
                </a:solidFill>
              </a:rPr>
              <a:t>, </a:t>
            </a:r>
            <a:r>
              <a:rPr lang="en-GB" sz="1867">
                <a:solidFill>
                  <a:prstClr val="black"/>
                </a:solidFill>
              </a:rPr>
              <a:t>cash, 30-60-90 days</a:t>
            </a:r>
          </a:p>
          <a:p>
            <a:pPr lvl="0" algn="just"/>
            <a:endParaRPr lang="en-GB" sz="1867" u="sng">
              <a:solidFill>
                <a:prstClr val="black"/>
              </a:solidFill>
            </a:endParaRPr>
          </a:p>
          <a:p>
            <a:pPr lvl="0" algn="just"/>
            <a:r>
              <a:rPr lang="en-GB" sz="1867" b="1" u="sng">
                <a:solidFill>
                  <a:prstClr val="black"/>
                </a:solidFill>
              </a:rPr>
              <a:t>Discounts / offers policy / membership conditions</a:t>
            </a:r>
          </a:p>
          <a:p>
            <a:endParaRPr lang="es-ES">
              <a:latin typeface="Arial"/>
              <a:cs typeface="Arial"/>
            </a:endParaRP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519521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56055" y="1989690"/>
            <a:ext cx="9922476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r>
              <a:rPr lang="en-GB" sz="2000"/>
              <a:t>There are several ways to generate Revenue Streams:</a:t>
            </a:r>
          </a:p>
          <a:p>
            <a:pPr algn="just"/>
            <a:endParaRPr lang="en-GB" sz="2000"/>
          </a:p>
          <a:p>
            <a:pPr algn="just"/>
            <a:r>
              <a:rPr lang="es-ES" sz="2000" b="1"/>
              <a:t>A</a:t>
            </a:r>
            <a:r>
              <a:rPr lang="en-GB" sz="2000" b="1"/>
              <a:t>SSET SALE</a:t>
            </a:r>
            <a:r>
              <a:rPr lang="en-GB" sz="2000"/>
              <a:t>: selling ownership rights to a physical product. i.e AMAZON</a:t>
            </a:r>
          </a:p>
          <a:p>
            <a:pPr algn="just"/>
            <a:r>
              <a:rPr lang="es-ES" sz="2000" b="1"/>
              <a:t>U</a:t>
            </a:r>
            <a:r>
              <a:rPr lang="en-GB" sz="2000" b="1"/>
              <a:t>SAGE FEE</a:t>
            </a:r>
            <a:r>
              <a:rPr lang="en-GB" sz="2000"/>
              <a:t>: generated by the use of a particular service. i.e Hotels / telecos</a:t>
            </a:r>
          </a:p>
          <a:p>
            <a:pPr algn="just"/>
            <a:r>
              <a:rPr lang="es-ES" sz="2000" b="1"/>
              <a:t>S</a:t>
            </a:r>
            <a:r>
              <a:rPr lang="en-GB" sz="2000" b="1"/>
              <a:t>UBSCRIPTION FEE</a:t>
            </a:r>
            <a:r>
              <a:rPr lang="en-GB" sz="2000"/>
              <a:t>: generated by selling continuous access to a service. gyms</a:t>
            </a:r>
          </a:p>
          <a:p>
            <a:pPr algn="just"/>
            <a:r>
              <a:rPr lang="es-ES" sz="2000" b="1"/>
              <a:t>L</a:t>
            </a:r>
            <a:r>
              <a:rPr lang="en-GB" sz="2000" b="1"/>
              <a:t>ENDING/RENTING/LEASING</a:t>
            </a:r>
            <a:r>
              <a:rPr lang="en-GB" sz="2000"/>
              <a:t>:  created by temporarily granting someone the exclusive right to use a particular asset for a fixed period in return for a fee. i.e Avant car.</a:t>
            </a:r>
          </a:p>
          <a:p>
            <a:pPr algn="just"/>
            <a:r>
              <a:rPr lang="es-ES" sz="2000" b="1"/>
              <a:t>L</a:t>
            </a:r>
            <a:r>
              <a:rPr lang="en-GB" sz="2000" b="1"/>
              <a:t>ICENSING</a:t>
            </a:r>
            <a:r>
              <a:rPr lang="en-GB" sz="2000"/>
              <a:t>: generated by giving customers permission to use protected intellectual property in exchange for licensing fees. i.e Publishing company.</a:t>
            </a:r>
          </a:p>
          <a:p>
            <a:pPr algn="just"/>
            <a:r>
              <a:rPr lang="es-ES" sz="2000" b="1"/>
              <a:t>B</a:t>
            </a:r>
            <a:r>
              <a:rPr lang="en-GB" sz="2000" b="1"/>
              <a:t>ROKERAGE FEES</a:t>
            </a:r>
            <a:r>
              <a:rPr lang="en-GB" sz="2000"/>
              <a:t>: derives from intermediation services performed on behalf of two or more parties. i.e Brokers and real estate</a:t>
            </a:r>
          </a:p>
          <a:p>
            <a:pPr algn="just"/>
            <a:r>
              <a:rPr lang="es-ES" sz="2000" b="1"/>
              <a:t>A</a:t>
            </a:r>
            <a:r>
              <a:rPr lang="en-GB" sz="2000" b="1"/>
              <a:t>DVERTISING</a:t>
            </a:r>
            <a:r>
              <a:rPr lang="en-GB" sz="2000"/>
              <a:t>: results from fees for advertising. i.e Facebook. </a:t>
            </a:r>
          </a:p>
        </p:txBody>
      </p:sp>
    </p:spTree>
    <p:extLst>
      <p:ext uri="{BB962C8B-B14F-4D97-AF65-F5344CB8AC3E}">
        <p14:creationId xmlns:p14="http://schemas.microsoft.com/office/powerpoint/2010/main" val="1113553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56055" y="1652770"/>
            <a:ext cx="9922476" cy="51398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2000" b="1">
              <a:cs typeface="Calibri"/>
            </a:endParaRPr>
          </a:p>
          <a:p>
            <a:r>
              <a:rPr lang="es-ES" sz="2000" b="1">
                <a:latin typeface="Arial"/>
                <a:cs typeface="Arial"/>
              </a:rPr>
              <a:t>And </a:t>
            </a:r>
            <a:r>
              <a:rPr lang="es-ES" sz="2000" b="1" err="1">
                <a:latin typeface="Arial"/>
                <a:cs typeface="Arial"/>
              </a:rPr>
              <a:t>then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is</a:t>
            </a:r>
            <a:r>
              <a:rPr lang="es-ES" sz="2000" b="1">
                <a:latin typeface="Arial"/>
                <a:cs typeface="Arial"/>
              </a:rPr>
              <a:t> time </a:t>
            </a:r>
            <a:r>
              <a:rPr lang="es-ES" sz="2000" b="1" err="1">
                <a:latin typeface="Arial"/>
                <a:cs typeface="Arial"/>
              </a:rPr>
              <a:t>for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the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second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part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of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the</a:t>
            </a:r>
            <a:r>
              <a:rPr lang="es-ES" sz="2000" b="1">
                <a:latin typeface="Arial"/>
                <a:cs typeface="Arial"/>
              </a:rPr>
              <a:t> </a:t>
            </a:r>
            <a:r>
              <a:rPr lang="es-ES" sz="2000" b="1" err="1">
                <a:latin typeface="Arial"/>
                <a:cs typeface="Arial"/>
              </a:rPr>
              <a:t>canvas</a:t>
            </a:r>
            <a:endParaRPr lang="es-ES" sz="2000" b="1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endParaRPr lang="es-ES">
              <a:latin typeface="Arial"/>
              <a:cs typeface="Arial"/>
            </a:endParaRPr>
          </a:p>
          <a:p>
            <a:r>
              <a:rPr lang="es-ES" err="1">
                <a:latin typeface="Arial"/>
                <a:cs typeface="Arial"/>
              </a:rPr>
              <a:t>First</a:t>
            </a:r>
            <a:r>
              <a:rPr lang="es-ES">
                <a:latin typeface="Arial"/>
                <a:cs typeface="Arial"/>
              </a:rPr>
              <a:t> </a:t>
            </a:r>
            <a:r>
              <a:rPr lang="es-ES" err="1">
                <a:latin typeface="Arial"/>
                <a:cs typeface="Arial"/>
              </a:rPr>
              <a:t>approximation</a:t>
            </a:r>
            <a:r>
              <a:rPr lang="es-ES">
                <a:latin typeface="Arial"/>
                <a:cs typeface="Arial"/>
              </a:rPr>
              <a:t>:</a:t>
            </a:r>
            <a:endParaRPr lang="es-ES">
              <a:cs typeface="Calibri"/>
            </a:endParaRPr>
          </a:p>
          <a:p>
            <a:endParaRPr lang="es-ES" b="1">
              <a:latin typeface="Arial"/>
              <a:cs typeface="Arial"/>
            </a:endParaRPr>
          </a:p>
          <a:p>
            <a:r>
              <a:rPr lang="es-ES" b="1">
                <a:latin typeface="Arial"/>
                <a:cs typeface="Arial"/>
              </a:rPr>
              <a:t>COST</a:t>
            </a:r>
          </a:p>
          <a:p>
            <a:endParaRPr lang="es-ES" b="1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>
                <a:latin typeface="Arial"/>
                <a:cs typeface="Arial"/>
              </a:rPr>
              <a:t>CA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err="1">
                <a:latin typeface="Arial"/>
                <a:cs typeface="Arial"/>
              </a:rPr>
              <a:t>Distribution</a:t>
            </a:r>
            <a:r>
              <a:rPr lang="es-ES">
                <a:latin typeface="Arial"/>
                <a:cs typeface="Arial"/>
              </a:rPr>
              <a:t> </a:t>
            </a:r>
            <a:r>
              <a:rPr lang="es-ES" err="1">
                <a:latin typeface="Arial"/>
                <a:cs typeface="Arial"/>
              </a:rPr>
              <a:t>Costs</a:t>
            </a:r>
            <a:endParaRPr lang="es-ES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>
                <a:latin typeface="Arial"/>
                <a:cs typeface="Arial"/>
              </a:rPr>
              <a:t>Ho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>
                <a:latin typeface="Arial"/>
                <a:cs typeface="Arial"/>
              </a:rPr>
              <a:t>People, </a:t>
            </a:r>
            <a:r>
              <a:rPr lang="es-ES" err="1">
                <a:latin typeface="Arial"/>
                <a:cs typeface="Arial"/>
              </a:rPr>
              <a:t>etc</a:t>
            </a:r>
            <a:endParaRPr lang="es-ES">
              <a:latin typeface="Arial"/>
              <a:cs typeface="Arial"/>
            </a:endParaRPr>
          </a:p>
          <a:p>
            <a:endParaRPr lang="es-ES" b="1">
              <a:cs typeface="Calibri"/>
            </a:endParaRP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588CDD11-17D8-4F4E-9EEA-6E0FC58CD6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0811" y="2587545"/>
            <a:ext cx="6833156" cy="4073545"/>
          </a:xfrm>
          <a:prstGeom prst="rect">
            <a:avLst/>
          </a:prstGeom>
        </p:spPr>
      </p:pic>
      <p:sp>
        <p:nvSpPr>
          <p:cNvPr id="6" name="Estrella: 5 puntas 5">
            <a:extLst>
              <a:ext uri="{FF2B5EF4-FFF2-40B4-BE49-F238E27FC236}">
                <a16:creationId xmlns:a16="http://schemas.microsoft.com/office/drawing/2014/main" id="{3FFB9184-56D4-4319-8131-53280236D426}"/>
              </a:ext>
            </a:extLst>
          </p:cNvPr>
          <p:cNvSpPr/>
          <p:nvPr/>
        </p:nvSpPr>
        <p:spPr>
          <a:xfrm>
            <a:off x="6371464" y="5741494"/>
            <a:ext cx="632177" cy="643467"/>
          </a:xfrm>
          <a:prstGeom prst="star5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2400"/>
          </a:p>
        </p:txBody>
      </p:sp>
    </p:spTree>
    <p:extLst>
      <p:ext uri="{BB962C8B-B14F-4D97-AF65-F5344CB8AC3E}">
        <p14:creationId xmlns:p14="http://schemas.microsoft.com/office/powerpoint/2010/main" val="13865540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56055" y="1652770"/>
            <a:ext cx="9922476" cy="51398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2000" b="1" dirty="0">
              <a:cs typeface="Calibri"/>
            </a:endParaRPr>
          </a:p>
          <a:p>
            <a:r>
              <a:rPr lang="es-ES" sz="2000" b="1" dirty="0" err="1">
                <a:latin typeface="Arial"/>
                <a:cs typeface="Arial"/>
              </a:rPr>
              <a:t>Some</a:t>
            </a:r>
            <a:r>
              <a:rPr lang="es-ES" sz="2000" b="1" dirty="0">
                <a:latin typeface="Arial"/>
                <a:cs typeface="Arial"/>
              </a:rPr>
              <a:t> </a:t>
            </a:r>
            <a:r>
              <a:rPr lang="es-ES" sz="2000" b="1" dirty="0" err="1">
                <a:latin typeface="Arial"/>
                <a:cs typeface="Arial"/>
              </a:rPr>
              <a:t>tips</a:t>
            </a:r>
            <a:r>
              <a:rPr lang="es-ES" sz="2000" b="1" dirty="0">
                <a:latin typeface="Arial"/>
                <a:cs typeface="Arial"/>
              </a:rPr>
              <a:t> </a:t>
            </a:r>
            <a:r>
              <a:rPr lang="es-ES" sz="2000" b="1" dirty="0" err="1">
                <a:latin typeface="Arial"/>
                <a:cs typeface="Arial"/>
              </a:rPr>
              <a:t>about</a:t>
            </a:r>
            <a:r>
              <a:rPr lang="es-ES" sz="2000" b="1" dirty="0">
                <a:latin typeface="Arial"/>
                <a:cs typeface="Arial"/>
              </a:rPr>
              <a:t> </a:t>
            </a:r>
            <a:r>
              <a:rPr lang="es-ES" sz="2000" b="1" dirty="0" err="1">
                <a:latin typeface="Arial"/>
                <a:cs typeface="Arial"/>
              </a:rPr>
              <a:t>costs</a:t>
            </a:r>
            <a:r>
              <a:rPr lang="es-ES" sz="2000" b="1" dirty="0">
                <a:latin typeface="Arial"/>
                <a:cs typeface="Arial"/>
              </a:rPr>
              <a:t>….</a:t>
            </a:r>
          </a:p>
          <a:p>
            <a:endParaRPr lang="es-ES" dirty="0">
              <a:latin typeface="Arial"/>
              <a:cs typeface="Arial"/>
            </a:endParaRPr>
          </a:p>
          <a:p>
            <a:endParaRPr lang="es-ES" dirty="0">
              <a:latin typeface="Arial"/>
              <a:cs typeface="Arial"/>
            </a:endParaRPr>
          </a:p>
          <a:p>
            <a:pPr>
              <a:defRPr/>
            </a:pPr>
            <a:r>
              <a:rPr lang="en-US" dirty="0">
                <a:latin typeface="Arial"/>
                <a:cs typeface="Arial"/>
              </a:rPr>
              <a:t>you must consider the most important costs to your business and create hypotheses for these expenses. </a:t>
            </a:r>
          </a:p>
          <a:p>
            <a:pPr>
              <a:defRPr/>
            </a:pPr>
            <a:endParaRPr lang="en-US" dirty="0">
              <a:latin typeface="Arial"/>
              <a:cs typeface="Arial"/>
            </a:endParaRPr>
          </a:p>
          <a:p>
            <a:pPr marL="761958" indent="-457189"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/>
                <a:cs typeface="Arial"/>
              </a:rPr>
              <a:t>you must distinguish between initials cost to start your business (INVESTMENT PLAN) and the operating and recurrent costs of your activity (COSTS and OPERATIONS)</a:t>
            </a:r>
          </a:p>
          <a:p>
            <a:pPr>
              <a:defRPr/>
            </a:pPr>
            <a:endParaRPr lang="en-US" dirty="0">
              <a:latin typeface="Arial"/>
              <a:cs typeface="Arial"/>
            </a:endParaRPr>
          </a:p>
          <a:p>
            <a:pPr marL="761958" indent="-457189"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/>
                <a:cs typeface="Arial"/>
              </a:rPr>
              <a:t>You will need to take into account both fixed costs, such as startup and acquisition costs, and variable costs, such as your monthly operating costs. </a:t>
            </a:r>
          </a:p>
          <a:p>
            <a:endParaRPr lang="es-ES" dirty="0">
              <a:latin typeface="Arial"/>
              <a:cs typeface="Arial"/>
            </a:endParaRPr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5979967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529B1AB-281C-427A-BED5-35BA4FA1102D}"/>
              </a:ext>
            </a:extLst>
          </p:cNvPr>
          <p:cNvSpPr txBox="1"/>
          <p:nvPr/>
        </p:nvSpPr>
        <p:spPr>
          <a:xfrm>
            <a:off x="372979" y="1716507"/>
            <a:ext cx="85484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2000" b="1">
                <a:latin typeface="Arial"/>
                <a:ea typeface="+mn-lt"/>
                <a:cs typeface="+mn-lt"/>
              </a:rPr>
              <a:t>Can we scalate it? How we adress to the Customers CHANNELS?</a:t>
            </a:r>
            <a:endParaRPr lang="en-US" sz="2000" b="1">
              <a:latin typeface="Arial"/>
            </a:endParaRPr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BB89CD3B-5576-4835-94FC-A14F436E9E0B}"/>
              </a:ext>
            </a:extLst>
          </p:cNvPr>
          <p:cNvSpPr/>
          <p:nvPr/>
        </p:nvSpPr>
        <p:spPr>
          <a:xfrm>
            <a:off x="5410702" y="2423340"/>
            <a:ext cx="5925551" cy="3619499"/>
          </a:xfrm>
          <a:prstGeom prst="wedgeRoundRectCallout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1. Ask Yourself If Your Business Is Really Scalable</a:t>
            </a:r>
            <a:endParaRPr lang="en-US">
              <a:latin typeface="Arial"/>
              <a:ea typeface="+mn-lt"/>
              <a:cs typeface="+mn-lt"/>
            </a:endParaRPr>
          </a:p>
          <a:p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2. Identify Your “Core”</a:t>
            </a:r>
            <a:endParaRPr lang="en-US">
              <a:latin typeface="Arial"/>
              <a:ea typeface="+mn-lt"/>
              <a:cs typeface="+mn-lt"/>
            </a:endParaRPr>
          </a:p>
          <a:p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3. Automate or Outsource Everything You Can</a:t>
            </a:r>
            <a:endParaRPr lang="en-US">
              <a:latin typeface="Arial"/>
              <a:ea typeface="+mn-lt"/>
              <a:cs typeface="+mn-lt"/>
            </a:endParaRPr>
          </a:p>
          <a:p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4. Make Your Business Workable Without You</a:t>
            </a:r>
            <a:endParaRPr lang="en-US">
              <a:latin typeface="Arial"/>
              <a:ea typeface="+mn-lt"/>
              <a:cs typeface="+mn-lt"/>
            </a:endParaRPr>
          </a:p>
          <a:p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5. Don’t Go Overboard in These Key Areas</a:t>
            </a:r>
            <a:endParaRPr lang="en-US">
              <a:latin typeface="Arial"/>
              <a:ea typeface="+mn-lt"/>
              <a:cs typeface="+mn-lt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Hiring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 </a:t>
            </a:r>
            <a:endParaRPr lang="en-US">
              <a:latin typeface="Arial"/>
              <a:ea typeface="+mn-lt"/>
              <a:cs typeface="+mn-lt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Spending</a:t>
            </a:r>
            <a:endParaRPr lang="en-US">
              <a:latin typeface="Arial"/>
              <a:ea typeface="+mn-lt"/>
              <a:cs typeface="+mn-lt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Building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54D671-CD5F-4D36-98E5-BF42E67A66F5}"/>
              </a:ext>
            </a:extLst>
          </p:cNvPr>
          <p:cNvSpPr txBox="1"/>
          <p:nvPr/>
        </p:nvSpPr>
        <p:spPr>
          <a:xfrm>
            <a:off x="691315" y="3197894"/>
            <a:ext cx="3585410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ES" b="1" err="1">
                <a:latin typeface="Arial"/>
                <a:cs typeface="Arial"/>
              </a:rPr>
              <a:t>Scalable</a:t>
            </a:r>
            <a:r>
              <a:rPr lang="en-US" b="0" i="0">
                <a:solidFill>
                  <a:srgbClr val="333333"/>
                </a:solidFill>
                <a:effectLst/>
                <a:latin typeface="Georgia" panose="02040502050405020303" pitchFamily="18" charset="0"/>
              </a:rPr>
              <a:t> </a:t>
            </a:r>
            <a:r>
              <a:rPr lang="en-US">
                <a:latin typeface="Arial"/>
                <a:cs typeface="Arial"/>
              </a:rPr>
              <a:t>it means that your business has the potential to multiply revenue with minimal incremental cost</a:t>
            </a:r>
            <a:r>
              <a:rPr lang="es-ES">
                <a:latin typeface="Arial"/>
                <a:cs typeface="Arial"/>
              </a:rPr>
              <a:t> </a:t>
            </a:r>
          </a:p>
          <a:p>
            <a:pPr algn="ctr"/>
            <a:r>
              <a:rPr lang="es-ES">
                <a:latin typeface="Arial"/>
                <a:cs typeface="Arial"/>
              </a:rPr>
              <a:t>(</a:t>
            </a:r>
            <a:r>
              <a:rPr lang="es-ES" err="1">
                <a:latin typeface="Arial"/>
                <a:cs typeface="Arial"/>
              </a:rPr>
              <a:t>synonimous</a:t>
            </a:r>
            <a:r>
              <a:rPr lang="es-ES">
                <a:latin typeface="Arial"/>
                <a:cs typeface="Arial"/>
              </a:rPr>
              <a:t> </a:t>
            </a:r>
            <a:r>
              <a:rPr lang="es-ES" err="1">
                <a:latin typeface="Arial"/>
                <a:cs typeface="Arial"/>
              </a:rPr>
              <a:t>of</a:t>
            </a:r>
            <a:r>
              <a:rPr lang="es-ES">
                <a:latin typeface="Arial"/>
                <a:cs typeface="Arial"/>
              </a:rPr>
              <a:t> </a:t>
            </a:r>
            <a:r>
              <a:rPr lang="en-US" err="1">
                <a:latin typeface="Arial"/>
                <a:cs typeface="Arial"/>
              </a:rPr>
              <a:t>investeable</a:t>
            </a:r>
            <a:r>
              <a:rPr lang="es-ES">
                <a:latin typeface="Arial"/>
                <a:cs typeface="Arial"/>
              </a:rPr>
              <a:t>):</a:t>
            </a:r>
            <a:endParaRPr lang="es-ES">
              <a:ea typeface="+mn-lt"/>
              <a:cs typeface="+mn-lt"/>
            </a:endParaRPr>
          </a:p>
          <a:p>
            <a:endParaRPr lang="en-US">
              <a:ea typeface="+mn-lt"/>
              <a:cs typeface="+mn-lt"/>
            </a:endParaRPr>
          </a:p>
          <a:p>
            <a:pPr algn="ctr"/>
            <a:r>
              <a:rPr lang="en-US">
                <a:latin typeface="Arial"/>
                <a:cs typeface="Arial"/>
              </a:rPr>
              <a:t>As you plan for the next phase </a:t>
            </a:r>
            <a:endParaRPr lang="en-US">
              <a:ea typeface="+mn-lt"/>
              <a:cs typeface="+mn-lt"/>
            </a:endParaRPr>
          </a:p>
          <a:p>
            <a:pPr algn="ctr"/>
            <a:r>
              <a:rPr lang="en-US">
                <a:latin typeface="Arial"/>
                <a:cs typeface="Arial"/>
              </a:rPr>
              <a:t>of your company’s development, </a:t>
            </a:r>
            <a:endParaRPr lang="en-US">
              <a:ea typeface="+mn-lt"/>
              <a:cs typeface="+mn-lt"/>
            </a:endParaRPr>
          </a:p>
          <a:p>
            <a:pPr algn="ctr"/>
            <a:r>
              <a:rPr lang="en-US">
                <a:latin typeface="Arial"/>
                <a:cs typeface="Arial"/>
              </a:rPr>
              <a:t>remember these five tips for a </a:t>
            </a:r>
            <a:endParaRPr lang="en-US">
              <a:ea typeface="+mn-lt"/>
              <a:cs typeface="+mn-lt"/>
            </a:endParaRPr>
          </a:p>
          <a:p>
            <a:pPr algn="ctr"/>
            <a:r>
              <a:rPr lang="en-US">
                <a:latin typeface="Arial"/>
                <a:cs typeface="Arial"/>
              </a:rPr>
              <a:t>successful scale-up.</a:t>
            </a:r>
            <a:endParaRPr lang="en-GB">
              <a:cs typeface="Calibri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2CDCBFDF-21C4-4612-8DF2-3D2EC11CA894}"/>
              </a:ext>
            </a:extLst>
          </p:cNvPr>
          <p:cNvSpPr/>
          <p:nvPr/>
        </p:nvSpPr>
        <p:spPr>
          <a:xfrm>
            <a:off x="4393612" y="3988788"/>
            <a:ext cx="982578" cy="481263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3542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857549" y="1492349"/>
            <a:ext cx="9922476" cy="59400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2400">
              <a:latin typeface="Arial"/>
              <a:cs typeface="Arial"/>
            </a:endParaRPr>
          </a:p>
          <a:p>
            <a:r>
              <a:rPr lang="en-US" sz="2400" b="1">
                <a:solidFill>
                  <a:srgbClr val="000000"/>
                </a:solidFill>
                <a:latin typeface="Arial"/>
                <a:cs typeface="Arial"/>
              </a:rPr>
              <a:t>                            </a:t>
            </a:r>
            <a:r>
              <a:rPr lang="en-US" sz="2800" b="1" i="0">
                <a:solidFill>
                  <a:srgbClr val="F7B562"/>
                </a:solidFill>
                <a:effectLst/>
                <a:latin typeface="Arial"/>
                <a:cs typeface="Arial"/>
              </a:rPr>
              <a:t>What You Need to Remember</a:t>
            </a:r>
            <a:endParaRPr lang="es-ES" sz="2800">
              <a:solidFill>
                <a:srgbClr val="F7B562"/>
              </a:solidFill>
              <a:latin typeface="Arial"/>
              <a:ea typeface="+mn-lt"/>
              <a:cs typeface="Arial"/>
            </a:endParaRPr>
          </a:p>
          <a:p>
            <a:endParaRPr lang="es-ES" sz="2800">
              <a:latin typeface="Arial"/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ü"/>
            </a:pPr>
            <a:r>
              <a:rPr lang="en-US" sz="2400">
                <a:solidFill>
                  <a:srgbClr val="000000"/>
                </a:solidFill>
                <a:latin typeface="Arial"/>
                <a:cs typeface="Arial"/>
              </a:rPr>
              <a:t> </a:t>
            </a:r>
            <a:r>
              <a:rPr lang="en-US" sz="2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Figure out how to automate or outsource everything you possibly can, especially if it’s not directly related to your core competencies.</a:t>
            </a:r>
          </a:p>
          <a:p>
            <a:pPr marL="342900" indent="-342900">
              <a:buFont typeface="Wingdings" panose="020B0604020202020204" pitchFamily="34" charset="0"/>
              <a:buChar char="ü"/>
            </a:pPr>
            <a:endParaRPr lang="en-US" sz="2400">
              <a:solidFill>
                <a:srgbClr val="000000"/>
              </a:solidFill>
              <a:latin typeface="Arial"/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ü"/>
            </a:pPr>
            <a:r>
              <a:rPr lang="en-US" sz="2400">
                <a:solidFill>
                  <a:srgbClr val="000000"/>
                </a:solidFill>
                <a:latin typeface="Arial"/>
                <a:cs typeface="Arial"/>
              </a:rPr>
              <a:t> </a:t>
            </a:r>
            <a:r>
              <a:rPr lang="en-US" sz="2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Stay disciplined with your money. Don’t spend on new people or features until you’re absolutely ready to do so.</a:t>
            </a:r>
          </a:p>
          <a:p>
            <a:pPr marL="342900" indent="-342900">
              <a:buFont typeface="Wingdings" panose="020B0604020202020204" pitchFamily="34" charset="0"/>
              <a:buChar char="ü"/>
            </a:pPr>
            <a:endParaRPr lang="en-US" sz="2400">
              <a:solidFill>
                <a:srgbClr val="000000"/>
              </a:solidFill>
              <a:latin typeface="Arial"/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ü"/>
            </a:pPr>
            <a:r>
              <a:rPr lang="en-US" sz="2400">
                <a:solidFill>
                  <a:srgbClr val="000000"/>
                </a:solidFill>
                <a:latin typeface="Arial"/>
                <a:cs typeface="Arial"/>
              </a:rPr>
              <a:t> </a:t>
            </a:r>
            <a:r>
              <a:rPr lang="en-US" sz="2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Make sure your business is actually scalable. </a:t>
            </a:r>
            <a:r>
              <a:rPr lang="en-US" sz="2400" b="0" i="0">
                <a:solidFill>
                  <a:schemeClr val="accent2"/>
                </a:solidFill>
                <a:effectLst/>
                <a:latin typeface="Arial"/>
                <a:cs typeface="Arial"/>
              </a:rPr>
              <a:t>There’s nothing wrong with staying small and lean if the product or service demands it.</a:t>
            </a:r>
          </a:p>
          <a:p>
            <a:pPr algn="l"/>
            <a:endParaRPr lang="en-US" b="0" i="0">
              <a:solidFill>
                <a:srgbClr val="333333"/>
              </a:solidFill>
              <a:effectLst/>
              <a:latin typeface="Georgia" panose="02040502050405020303" pitchFamily="18" charset="0"/>
            </a:endParaRP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ABB272FC-0B57-42FF-A410-48E34B6A8335}"/>
              </a:ext>
            </a:extLst>
          </p:cNvPr>
          <p:cNvSpPr/>
          <p:nvPr/>
        </p:nvSpPr>
        <p:spPr>
          <a:xfrm>
            <a:off x="2400300" y="1718511"/>
            <a:ext cx="651710" cy="651710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tar: 5 Points 5">
            <a:extLst>
              <a:ext uri="{FF2B5EF4-FFF2-40B4-BE49-F238E27FC236}">
                <a16:creationId xmlns:a16="http://schemas.microsoft.com/office/drawing/2014/main" id="{50C5D872-120E-4109-B886-600F4A978DDE}"/>
              </a:ext>
            </a:extLst>
          </p:cNvPr>
          <p:cNvSpPr/>
          <p:nvPr/>
        </p:nvSpPr>
        <p:spPr>
          <a:xfrm>
            <a:off x="8498807" y="1700964"/>
            <a:ext cx="651711" cy="671764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381235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857549" y="1492349"/>
            <a:ext cx="9922476" cy="36009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2400">
              <a:latin typeface="Arial"/>
              <a:cs typeface="Arial"/>
            </a:endParaRPr>
          </a:p>
          <a:p>
            <a:r>
              <a:rPr lang="en-US" sz="2400" b="1">
                <a:solidFill>
                  <a:srgbClr val="000000"/>
                </a:solidFill>
                <a:latin typeface="Arial"/>
                <a:cs typeface="Arial"/>
              </a:rPr>
              <a:t>                            </a:t>
            </a:r>
            <a:endParaRPr lang="es-ES"/>
          </a:p>
          <a:p>
            <a:r>
              <a:rPr lang="es-ES" err="1"/>
              <a:t>Again</a:t>
            </a:r>
            <a:r>
              <a:rPr lang="es-ES"/>
              <a:t>…. 10 </a:t>
            </a:r>
            <a:r>
              <a:rPr lang="es-ES" err="1"/>
              <a:t>tips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the</a:t>
            </a:r>
            <a:r>
              <a:rPr lang="es-ES"/>
              <a:t> </a:t>
            </a:r>
            <a:r>
              <a:rPr lang="es-ES" err="1"/>
              <a:t>most</a:t>
            </a:r>
            <a:r>
              <a:rPr lang="es-ES"/>
              <a:t> </a:t>
            </a:r>
            <a:r>
              <a:rPr lang="es-ES" err="1"/>
              <a:t>scalables</a:t>
            </a:r>
            <a:r>
              <a:rPr lang="es-ES"/>
              <a:t> </a:t>
            </a:r>
            <a:r>
              <a:rPr lang="es-ES" err="1"/>
              <a:t>start</a:t>
            </a:r>
            <a:r>
              <a:rPr lang="es-ES"/>
              <a:t> up </a:t>
            </a:r>
            <a:r>
              <a:rPr lang="es-ES" err="1"/>
              <a:t>according</a:t>
            </a:r>
            <a:r>
              <a:rPr lang="es-ES"/>
              <a:t> FORBES</a:t>
            </a:r>
          </a:p>
          <a:p>
            <a:endParaRPr lang="es-ES"/>
          </a:p>
          <a:p>
            <a:endParaRPr lang="es-ES"/>
          </a:p>
          <a:p>
            <a:r>
              <a:rPr lang="es-ES">
                <a:hlinkClick r:id="rId10"/>
              </a:rPr>
              <a:t>https://www.forbes.com/sites/martinzwilling/2013/09/06/10-tips-for-building-the-most-scalable-startup/?sh=c39741c5f28d</a:t>
            </a:r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25310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365555" y="1452243"/>
            <a:ext cx="9922476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2000" b="1">
              <a:latin typeface="Arial"/>
              <a:cs typeface="Arial"/>
            </a:endParaRPr>
          </a:p>
          <a:p>
            <a:r>
              <a:rPr lang="es-ES" sz="2000" b="1">
                <a:latin typeface="Arial"/>
                <a:cs typeface="Arial"/>
              </a:rPr>
              <a:t>LET’S FOCUS ON</a:t>
            </a:r>
          </a:p>
          <a:p>
            <a:endParaRPr lang="es-E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926387-4DA8-4510-AF31-D5BF8914BB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54967" y="2239172"/>
            <a:ext cx="6261656" cy="3732651"/>
          </a:xfrm>
          <a:prstGeom prst="rect">
            <a:avLst/>
          </a:prstGeom>
        </p:spPr>
      </p:pic>
      <p:sp>
        <p:nvSpPr>
          <p:cNvPr id="11" name="Estrella: 5 puntas 9">
            <a:extLst>
              <a:ext uri="{FF2B5EF4-FFF2-40B4-BE49-F238E27FC236}">
                <a16:creationId xmlns:a16="http://schemas.microsoft.com/office/drawing/2014/main" id="{8C2F6688-0495-40C9-AA43-A59253921A4C}"/>
              </a:ext>
            </a:extLst>
          </p:cNvPr>
          <p:cNvSpPr/>
          <p:nvPr/>
        </p:nvSpPr>
        <p:spPr>
          <a:xfrm>
            <a:off x="2876751" y="3107266"/>
            <a:ext cx="632177" cy="643467"/>
          </a:xfrm>
          <a:prstGeom prst="star5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2400"/>
          </a:p>
        </p:txBody>
      </p:sp>
      <p:sp>
        <p:nvSpPr>
          <p:cNvPr id="5" name="Estrella: 5 puntas 9">
            <a:extLst>
              <a:ext uri="{FF2B5EF4-FFF2-40B4-BE49-F238E27FC236}">
                <a16:creationId xmlns:a16="http://schemas.microsoft.com/office/drawing/2014/main" id="{F1F45A89-2208-25AD-1D1C-529B2CF78C4D}"/>
              </a:ext>
            </a:extLst>
          </p:cNvPr>
          <p:cNvSpPr/>
          <p:nvPr/>
        </p:nvSpPr>
        <p:spPr>
          <a:xfrm>
            <a:off x="7886159" y="3224057"/>
            <a:ext cx="632177" cy="643467"/>
          </a:xfrm>
          <a:prstGeom prst="star5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2400"/>
          </a:p>
        </p:txBody>
      </p:sp>
      <p:sp>
        <p:nvSpPr>
          <p:cNvPr id="6" name="Estrella: 5 puntas 9">
            <a:extLst>
              <a:ext uri="{FF2B5EF4-FFF2-40B4-BE49-F238E27FC236}">
                <a16:creationId xmlns:a16="http://schemas.microsoft.com/office/drawing/2014/main" id="{C6CD9E2F-9361-C8F3-EBD1-9B2AFA4A72A7}"/>
              </a:ext>
            </a:extLst>
          </p:cNvPr>
          <p:cNvSpPr/>
          <p:nvPr/>
        </p:nvSpPr>
        <p:spPr>
          <a:xfrm>
            <a:off x="5410154" y="3173586"/>
            <a:ext cx="632177" cy="643467"/>
          </a:xfrm>
          <a:prstGeom prst="star5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240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3B1074E-0E5F-7320-53AB-CED8423FC15E}"/>
              </a:ext>
            </a:extLst>
          </p:cNvPr>
          <p:cNvSpPr txBox="1"/>
          <p:nvPr/>
        </p:nvSpPr>
        <p:spPr>
          <a:xfrm>
            <a:off x="3465764" y="1481972"/>
            <a:ext cx="9922476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ES" sz="2000" dirty="0">
                <a:hlinkClick r:id="rId10"/>
              </a:rPr>
              <a:t>https://canvanizer.com/new/lean-canvas</a:t>
            </a:r>
            <a:endParaRPr lang="es-ES" sz="2000" dirty="0"/>
          </a:p>
        </p:txBody>
      </p:sp>
      <p:pic>
        <p:nvPicPr>
          <p:cNvPr id="12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2AB40F48-E0DD-3A58-4E4D-AAC2B420781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93973" y="12070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8021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335476" y="1392086"/>
            <a:ext cx="9922476" cy="33239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2000" b="1" dirty="0">
              <a:latin typeface="Arial"/>
              <a:cs typeface="Arial"/>
            </a:endParaRPr>
          </a:p>
          <a:p>
            <a:r>
              <a:rPr lang="es-ES" sz="2000" b="1" dirty="0">
                <a:latin typeface="Arial"/>
                <a:cs typeface="Arial"/>
              </a:rPr>
              <a:t>And  of </a:t>
            </a:r>
            <a:r>
              <a:rPr lang="es-ES" sz="2000" b="1" dirty="0" err="1">
                <a:latin typeface="Arial"/>
                <a:cs typeface="Arial"/>
              </a:rPr>
              <a:t>course</a:t>
            </a:r>
            <a:r>
              <a:rPr lang="es-ES" sz="2000" b="1" dirty="0">
                <a:latin typeface="Arial"/>
                <a:cs typeface="Arial"/>
              </a:rPr>
              <a:t>… </a:t>
            </a:r>
            <a:r>
              <a:rPr lang="es-ES" sz="2000" b="1" dirty="0" err="1">
                <a:latin typeface="Arial"/>
                <a:cs typeface="Arial"/>
              </a:rPr>
              <a:t>the</a:t>
            </a:r>
            <a:r>
              <a:rPr lang="es-ES" sz="2000" b="1" dirty="0">
                <a:latin typeface="Arial"/>
                <a:cs typeface="Arial"/>
              </a:rPr>
              <a:t> </a:t>
            </a:r>
            <a:r>
              <a:rPr lang="es-ES" sz="2000" b="1" dirty="0" err="1">
                <a:latin typeface="Arial"/>
                <a:cs typeface="Arial"/>
              </a:rPr>
              <a:t>management</a:t>
            </a:r>
            <a:r>
              <a:rPr lang="es-ES" sz="2000" b="1" dirty="0">
                <a:latin typeface="Arial"/>
                <a:cs typeface="Arial"/>
              </a:rPr>
              <a:t> control: </a:t>
            </a:r>
          </a:p>
          <a:p>
            <a:endParaRPr lang="es-ES" sz="2000" b="1" dirty="0">
              <a:latin typeface="Arial"/>
              <a:cs typeface="Arial"/>
            </a:endParaRPr>
          </a:p>
          <a:p>
            <a:r>
              <a:rPr lang="es-ES" sz="2000" b="1" dirty="0" err="1">
                <a:latin typeface="Arial"/>
                <a:cs typeface="Arial"/>
              </a:rPr>
              <a:t>The</a:t>
            </a:r>
            <a:r>
              <a:rPr lang="es-ES" sz="2000" b="1" dirty="0">
                <a:latin typeface="Arial"/>
                <a:cs typeface="Arial"/>
              </a:rPr>
              <a:t> Key </a:t>
            </a:r>
            <a:r>
              <a:rPr lang="es-ES" sz="2000" b="1" dirty="0" err="1">
                <a:latin typeface="Arial"/>
                <a:cs typeface="Arial"/>
              </a:rPr>
              <a:t>Metrics</a:t>
            </a:r>
            <a:r>
              <a:rPr lang="es-ES" sz="2000" b="1" dirty="0">
                <a:latin typeface="Arial"/>
                <a:cs typeface="Arial"/>
              </a:rPr>
              <a:t>/</a:t>
            </a:r>
            <a:r>
              <a:rPr lang="es-ES" sz="2000" b="1" dirty="0" err="1">
                <a:latin typeface="Arial"/>
                <a:cs typeface="Arial"/>
              </a:rPr>
              <a:t>activities</a:t>
            </a:r>
            <a:r>
              <a:rPr lang="es-ES" sz="2000" b="1" dirty="0">
                <a:latin typeface="Arial"/>
                <a:cs typeface="Arial"/>
              </a:rPr>
              <a:t> </a:t>
            </a:r>
          </a:p>
          <a:p>
            <a:endParaRPr lang="es-ES" sz="2000" b="1" dirty="0">
              <a:latin typeface="Arial"/>
              <a:cs typeface="Arial"/>
            </a:endParaRPr>
          </a:p>
          <a:p>
            <a:r>
              <a:rPr lang="es-ES" sz="2000" b="1" u="sng" dirty="0">
                <a:latin typeface="Arial"/>
                <a:cs typeface="Arial"/>
              </a:rPr>
              <a:t>And </a:t>
            </a:r>
            <a:r>
              <a:rPr lang="es-ES" sz="2000" b="1" u="sng" dirty="0" err="1">
                <a:latin typeface="Arial"/>
                <a:cs typeface="Arial"/>
              </a:rPr>
              <a:t>the</a:t>
            </a:r>
            <a:r>
              <a:rPr lang="es-ES" sz="2000" b="1" u="sng" dirty="0">
                <a:latin typeface="Arial"/>
                <a:cs typeface="Arial"/>
              </a:rPr>
              <a:t> ROADMAP </a:t>
            </a:r>
            <a:r>
              <a:rPr lang="es-ES" sz="2000" b="1" u="sng" dirty="0" err="1">
                <a:latin typeface="Arial"/>
                <a:cs typeface="Arial"/>
              </a:rPr>
              <a:t>to</a:t>
            </a:r>
            <a:r>
              <a:rPr lang="es-ES" sz="2000" b="1" u="sng" dirty="0">
                <a:latin typeface="Arial"/>
                <a:cs typeface="Arial"/>
              </a:rPr>
              <a:t> </a:t>
            </a:r>
            <a:r>
              <a:rPr lang="es-ES" sz="2000" b="1" u="sng" dirty="0" err="1">
                <a:latin typeface="Arial"/>
                <a:cs typeface="Arial"/>
              </a:rPr>
              <a:t>follow</a:t>
            </a:r>
            <a:r>
              <a:rPr lang="es-ES" sz="2000" b="1" u="sng" dirty="0">
                <a:latin typeface="Arial"/>
                <a:cs typeface="Arial"/>
              </a:rPr>
              <a:t>. </a:t>
            </a:r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588CDD11-17D8-4F4E-9EEA-6E0FC58CD6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0811" y="2196519"/>
            <a:ext cx="6913366" cy="4123677"/>
          </a:xfrm>
          <a:prstGeom prst="rect">
            <a:avLst/>
          </a:prstGeom>
        </p:spPr>
      </p:pic>
      <p:sp>
        <p:nvSpPr>
          <p:cNvPr id="10" name="Estrella: 5 puntas 9">
            <a:extLst>
              <a:ext uri="{FF2B5EF4-FFF2-40B4-BE49-F238E27FC236}">
                <a16:creationId xmlns:a16="http://schemas.microsoft.com/office/drawing/2014/main" id="{37CB662E-BED0-44E4-A63C-288873730893}"/>
              </a:ext>
            </a:extLst>
          </p:cNvPr>
          <p:cNvSpPr/>
          <p:nvPr/>
        </p:nvSpPr>
        <p:spPr>
          <a:xfrm>
            <a:off x="6735757" y="4255799"/>
            <a:ext cx="632177" cy="643467"/>
          </a:xfrm>
          <a:prstGeom prst="star5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2400"/>
          </a:p>
        </p:txBody>
      </p:sp>
    </p:spTree>
    <p:extLst>
      <p:ext uri="{BB962C8B-B14F-4D97-AF65-F5344CB8AC3E}">
        <p14:creationId xmlns:p14="http://schemas.microsoft.com/office/powerpoint/2010/main" val="31343557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E07887-3231-93C7-2062-5BFA6EFFAC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B8458DE-E670-3FAB-B6BA-7F32DE0D4A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B8458DE-E670-3FAB-B6BA-7F32DE0D4A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DEACCD8A-90A8-8F62-3216-9C981AC2B6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8EB80AB-7763-2929-97C1-5443D515D235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378E2ED4-BE6E-3B96-3934-73983FBD4A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A966A6FA-2975-6B6F-90A3-F9C4EE2E34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C6FC3830-1D80-4D63-EE1F-EAC98602A4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035D4D0-1D09-1C25-2D96-015A5997B9B1}"/>
              </a:ext>
            </a:extLst>
          </p:cNvPr>
          <p:cNvSpPr txBox="1"/>
          <p:nvPr/>
        </p:nvSpPr>
        <p:spPr>
          <a:xfrm>
            <a:off x="335476" y="1392086"/>
            <a:ext cx="9922476" cy="246221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2000" b="1" dirty="0">
              <a:latin typeface="Arial"/>
              <a:cs typeface="Arial"/>
            </a:endParaRPr>
          </a:p>
          <a:p>
            <a:r>
              <a:rPr lang="es-ES" sz="2000" b="1" u="sng" dirty="0" err="1">
                <a:latin typeface="Arial"/>
                <a:cs typeface="Arial"/>
              </a:rPr>
              <a:t>The</a:t>
            </a:r>
            <a:r>
              <a:rPr lang="es-ES" sz="2000" b="1" u="sng" dirty="0">
                <a:latin typeface="Arial"/>
                <a:cs typeface="Arial"/>
              </a:rPr>
              <a:t> </a:t>
            </a:r>
            <a:r>
              <a:rPr lang="es-ES" sz="2000" b="1" u="sng" dirty="0" err="1">
                <a:latin typeface="Arial"/>
                <a:cs typeface="Arial"/>
              </a:rPr>
              <a:t>starting</a:t>
            </a:r>
            <a:r>
              <a:rPr lang="es-ES" sz="2000" b="1" u="sng" dirty="0">
                <a:latin typeface="Arial"/>
                <a:cs typeface="Arial"/>
              </a:rPr>
              <a:t> </a:t>
            </a:r>
            <a:r>
              <a:rPr lang="es-ES" sz="2000" b="1" u="sng" dirty="0" err="1">
                <a:latin typeface="Arial"/>
                <a:cs typeface="Arial"/>
              </a:rPr>
              <a:t>point</a:t>
            </a:r>
            <a:endParaRPr lang="es-ES" sz="2000" b="1" u="sng" dirty="0">
              <a:latin typeface="Arial"/>
              <a:cs typeface="Arial"/>
            </a:endParaRPr>
          </a:p>
          <a:p>
            <a:endParaRPr lang="es-ES" sz="2000" b="1" u="sng" dirty="0">
              <a:latin typeface="Arial"/>
              <a:cs typeface="Arial"/>
            </a:endParaRPr>
          </a:p>
          <a:p>
            <a:endParaRPr lang="es-ES" sz="2000" b="1" u="sng" dirty="0">
              <a:latin typeface="Arial"/>
              <a:cs typeface="Arial"/>
            </a:endParaRPr>
          </a:p>
          <a:p>
            <a:endParaRPr lang="es-ES" sz="2000" b="1" u="sng" dirty="0">
              <a:latin typeface="Arial"/>
              <a:cs typeface="Arial"/>
            </a:endParaRPr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pic>
        <p:nvPicPr>
          <p:cNvPr id="7" name="Picture 2" descr="What TRL and BRL is needed for the EIC Accelerator? What about ...">
            <a:extLst>
              <a:ext uri="{FF2B5EF4-FFF2-40B4-BE49-F238E27FC236}">
                <a16:creationId xmlns:a16="http://schemas.microsoft.com/office/drawing/2014/main" id="{523C3025-3283-D513-2C4F-D8229F8B52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7887" y="2224326"/>
            <a:ext cx="3919742" cy="4439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ject 2">
            <a:extLst>
              <a:ext uri="{FF2B5EF4-FFF2-40B4-BE49-F238E27FC236}">
                <a16:creationId xmlns:a16="http://schemas.microsoft.com/office/drawing/2014/main" id="{4604E6B6-D7FF-D5CD-0906-25F31D78DAB7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2220686" y="2275114"/>
            <a:ext cx="3773005" cy="4439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77608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064EE-FE9B-579D-BC43-7F5279E310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863F956B-B908-11AF-DDB8-92086B985D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863F956B-B908-11AF-DDB8-92086B985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9AD958F2-86D4-0E96-0777-17E2BCF487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CEBDEF9-0AA5-ADDB-A7E1-1EEFD66A56AF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07A52216-1BCE-6475-7095-8403C4B215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9AE3C06E-A86C-5FE2-363E-0FEACB881E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A06EE489-FBF6-D4F3-7E8D-E1D3CBBDB95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87221DE7-3189-5924-8065-6C925B21629F}"/>
              </a:ext>
            </a:extLst>
          </p:cNvPr>
          <p:cNvSpPr txBox="1"/>
          <p:nvPr/>
        </p:nvSpPr>
        <p:spPr>
          <a:xfrm>
            <a:off x="335476" y="1392086"/>
            <a:ext cx="9922476" cy="184665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sz="2000" b="1" dirty="0">
              <a:latin typeface="Arial"/>
              <a:cs typeface="Arial"/>
            </a:endParaRPr>
          </a:p>
          <a:p>
            <a:r>
              <a:rPr lang="es-ES" sz="2000" b="1" u="sng" dirty="0">
                <a:latin typeface="Arial"/>
                <a:cs typeface="Arial"/>
              </a:rPr>
              <a:t>And </a:t>
            </a:r>
            <a:r>
              <a:rPr lang="es-ES" sz="2000" b="1" u="sng" dirty="0" err="1">
                <a:latin typeface="Arial"/>
                <a:cs typeface="Arial"/>
              </a:rPr>
              <a:t>the</a:t>
            </a:r>
            <a:r>
              <a:rPr lang="es-ES" sz="2000" b="1" u="sng" dirty="0">
                <a:latin typeface="Arial"/>
                <a:cs typeface="Arial"/>
              </a:rPr>
              <a:t> ROADMAP</a:t>
            </a:r>
          </a:p>
          <a:p>
            <a:endParaRPr lang="es-ES" sz="2000" b="1" u="sng" dirty="0">
              <a:latin typeface="Arial"/>
              <a:cs typeface="Arial"/>
            </a:endParaRPr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8F9DF1C9-4D7F-F3D7-0017-C35291FD6D8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7409490"/>
              </p:ext>
            </p:extLst>
          </p:nvPr>
        </p:nvGraphicFramePr>
        <p:xfrm>
          <a:off x="4709639" y="1362624"/>
          <a:ext cx="5548313" cy="5418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12298893" imgH="12009277" progId="Excel.Sheet.12">
                  <p:embed/>
                </p:oleObj>
              </mc:Choice>
              <mc:Fallback>
                <p:oleObj name="Worksheet" r:id="rId10" imgW="12298893" imgH="12009277" progId="Excel.Sheet.12">
                  <p:embed/>
                  <p:pic>
                    <p:nvPicPr>
                      <p:cNvPr id="6" name="Objeto 5">
                        <a:extLst>
                          <a:ext uri="{FF2B5EF4-FFF2-40B4-BE49-F238E27FC236}">
                            <a16:creationId xmlns:a16="http://schemas.microsoft.com/office/drawing/2014/main" id="{8F9DF1C9-4D7F-F3D7-0017-C35291FD6D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709639" y="1362624"/>
                        <a:ext cx="5548313" cy="5418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886645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</a:t>
            </a:r>
            <a:b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401" y="1567027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CuadroTexto 1">
            <a:extLst>
              <a:ext uri="{FF2B5EF4-FFF2-40B4-BE49-F238E27FC236}">
                <a16:creationId xmlns:a16="http://schemas.microsoft.com/office/drawing/2014/main" id="{9794EDA9-4259-9FDA-B449-D3D770E56DFD}"/>
              </a:ext>
            </a:extLst>
          </p:cNvPr>
          <p:cNvSpPr txBox="1"/>
          <p:nvPr/>
        </p:nvSpPr>
        <p:spPr>
          <a:xfrm>
            <a:off x="816250" y="1711460"/>
            <a:ext cx="9922476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dirty="0"/>
          </a:p>
          <a:p>
            <a:pPr algn="ctr"/>
            <a:r>
              <a:rPr lang="es-ES" sz="2800" b="1" dirty="0" err="1">
                <a:latin typeface="Arial"/>
                <a:cs typeface="Arial"/>
              </a:rPr>
              <a:t>Let's</a:t>
            </a:r>
            <a:r>
              <a:rPr lang="es-ES" sz="2800" b="1" dirty="0">
                <a:latin typeface="Arial"/>
                <a:cs typeface="Arial"/>
              </a:rPr>
              <a:t> </a:t>
            </a:r>
            <a:r>
              <a:rPr lang="es-ES" sz="2800" b="1" dirty="0" err="1">
                <a:latin typeface="Arial"/>
                <a:cs typeface="Arial"/>
              </a:rPr>
              <a:t>have</a:t>
            </a:r>
            <a:r>
              <a:rPr lang="es-ES" sz="2800" b="1" dirty="0">
                <a:latin typeface="Arial"/>
                <a:cs typeface="Arial"/>
              </a:rPr>
              <a:t> </a:t>
            </a:r>
            <a:r>
              <a:rPr lang="es-ES" sz="2800" b="1" dirty="0" err="1">
                <a:latin typeface="Arial"/>
                <a:cs typeface="Arial"/>
              </a:rPr>
              <a:t>some</a:t>
            </a:r>
            <a:r>
              <a:rPr lang="es-ES" sz="2800" b="1" dirty="0">
                <a:latin typeface="Arial"/>
                <a:cs typeface="Arial"/>
              </a:rPr>
              <a:t> AI </a:t>
            </a:r>
            <a:r>
              <a:rPr lang="es-ES" sz="2800" b="1" dirty="0" err="1">
                <a:latin typeface="Arial"/>
                <a:cs typeface="Arial"/>
              </a:rPr>
              <a:t>now</a:t>
            </a:r>
            <a:r>
              <a:rPr lang="es-ES" sz="2800" b="1" dirty="0">
                <a:latin typeface="Arial"/>
                <a:cs typeface="Arial"/>
              </a:rPr>
              <a:t>….</a:t>
            </a:r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r>
              <a:rPr lang="ca-ES" sz="6600" dirty="0">
                <a:hlinkClick r:id="rId9"/>
              </a:rPr>
              <a:t>AI </a:t>
            </a:r>
            <a:r>
              <a:rPr lang="ca-ES" sz="6600" dirty="0" err="1">
                <a:hlinkClick r:id="rId9"/>
              </a:rPr>
              <a:t>Innovation</a:t>
            </a:r>
            <a:r>
              <a:rPr lang="ca-ES" sz="6600" dirty="0">
                <a:hlinkClick r:id="rId9"/>
              </a:rPr>
              <a:t> </a:t>
            </a:r>
            <a:r>
              <a:rPr lang="ca-ES" sz="6600" dirty="0" err="1">
                <a:hlinkClick r:id="rId9"/>
              </a:rPr>
              <a:t>Platform</a:t>
            </a:r>
            <a:endParaRPr lang="es-ES" sz="6600" dirty="0">
              <a:ea typeface="Calibri"/>
              <a:cs typeface="Calibri"/>
            </a:endParaRPr>
          </a:p>
          <a:p>
            <a:endParaRPr lang="es-ES" dirty="0">
              <a:ea typeface="Calibri"/>
              <a:cs typeface="Calibri"/>
            </a:endParaRPr>
          </a:p>
          <a:p>
            <a:endParaRPr lang="es-ES" dirty="0">
              <a:ea typeface="Calibri"/>
              <a:cs typeface="Calibri"/>
            </a:endParaRPr>
          </a:p>
          <a:p>
            <a:endParaRPr lang="es-ES" dirty="0">
              <a:ea typeface="Calibri"/>
              <a:cs typeface="Calibri"/>
            </a:endParaRPr>
          </a:p>
        </p:txBody>
      </p:sp>
      <p:pic>
        <p:nvPicPr>
          <p:cNvPr id="6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0AE5CF59-CF36-AE13-8961-1DA52F273B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22461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20AA183E-D394-4F2F-B009-1E0AE4C204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7821" y="193831"/>
            <a:ext cx="2021306" cy="109623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86134" y="1592612"/>
            <a:ext cx="9922476" cy="473975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 dirty="0"/>
          </a:p>
          <a:p>
            <a:r>
              <a:rPr lang="es-ES" sz="2800" dirty="0">
                <a:cs typeface="Calibri"/>
              </a:rPr>
              <a:t>SUMMARY – RECAP</a:t>
            </a:r>
          </a:p>
          <a:p>
            <a:endParaRPr lang="en-US" sz="2800" b="1" i="0" dirty="0">
              <a:solidFill>
                <a:srgbClr val="282828"/>
              </a:solidFill>
              <a:effectLst/>
              <a:latin typeface="GT America"/>
            </a:endParaRPr>
          </a:p>
          <a:p>
            <a:r>
              <a:rPr lang="en-US" sz="2800" b="1" i="0" dirty="0">
                <a:solidFill>
                  <a:srgbClr val="282828"/>
                </a:solidFill>
                <a:effectLst/>
                <a:latin typeface="GT America"/>
              </a:rPr>
              <a:t>Why the Lean Start-Up Changes Everything</a:t>
            </a:r>
          </a:p>
          <a:p>
            <a:endParaRPr lang="es-ES" sz="2800" dirty="0">
              <a:cs typeface="Calibri"/>
            </a:endParaRPr>
          </a:p>
          <a:p>
            <a:endParaRPr lang="es-ES" sz="2800" dirty="0">
              <a:cs typeface="Calibri"/>
            </a:endParaRPr>
          </a:p>
          <a:p>
            <a:r>
              <a:rPr lang="es-ES" dirty="0">
                <a:hlinkClick r:id="rId10"/>
              </a:rPr>
              <a:t>https://hbr.org/video/5712986167001/why-the-lean-startup-changes-everything</a:t>
            </a:r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11139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08DB555-9C1F-4197-AF4E-889D4EFCBD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408DB555-9C1F-4197-AF4E-889D4EFCBD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1">
            <a:extLst>
              <a:ext uri="{FF2B5EF4-FFF2-40B4-BE49-F238E27FC236}">
                <a16:creationId xmlns:a16="http://schemas.microsoft.com/office/drawing/2014/main" id="{0945261C-4F8D-4D48-885A-C24BDA54F505}"/>
              </a:ext>
            </a:extLst>
          </p:cNvPr>
          <p:cNvSpPr txBox="1">
            <a:spLocks/>
          </p:cNvSpPr>
          <p:nvPr/>
        </p:nvSpPr>
        <p:spPr>
          <a:xfrm>
            <a:off x="2638592" y="1098025"/>
            <a:ext cx="6541169" cy="592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2400" b="1">
              <a:solidFill>
                <a:schemeClr val="bg2">
                  <a:lumMod val="50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BCCCF611-A250-47A1-8FE4-254BB8BC81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6486" y="1340835"/>
            <a:ext cx="12514940" cy="45719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CFA69862-AEC8-44C2-8F67-3EDD4CD638B9}"/>
              </a:ext>
            </a:extLst>
          </p:cNvPr>
          <p:cNvSpPr txBox="1">
            <a:spLocks/>
          </p:cNvSpPr>
          <p:nvPr/>
        </p:nvSpPr>
        <p:spPr>
          <a:xfrm>
            <a:off x="2515240" y="672622"/>
            <a:ext cx="8864600" cy="5968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000" b="1" dirty="0">
                <a:solidFill>
                  <a:srgbClr val="6A2926"/>
                </a:solidFill>
                <a:latin typeface="Arial"/>
                <a:cs typeface="Arial"/>
              </a:rPr>
              <a:t>G-ACCELERATOR Impact Call 2025</a:t>
            </a:r>
          </a:p>
        </p:txBody>
      </p:sp>
      <p:pic>
        <p:nvPicPr>
          <p:cNvPr id="2" name="Picture 5" descr="Logo&#10;&#10;Description automatically generated">
            <a:extLst>
              <a:ext uri="{FF2B5EF4-FFF2-40B4-BE49-F238E27FC236}">
                <a16:creationId xmlns:a16="http://schemas.microsoft.com/office/drawing/2014/main" id="{90AF8572-AF4B-424D-B59A-BB0E69262D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039" y="-47938"/>
            <a:ext cx="2743200" cy="1497284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9676740E-B337-4FEA-81EF-1505E93469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114" y="2162181"/>
            <a:ext cx="6194854" cy="4033966"/>
          </a:xfrm>
          <a:prstGeom prst="rect">
            <a:avLst/>
          </a:prstGeom>
        </p:spPr>
      </p:pic>
      <p:pic>
        <p:nvPicPr>
          <p:cNvPr id="10" name="Picture 9" descr="A picture containing funnel chart&#10;&#10;Description automatically generated">
            <a:extLst>
              <a:ext uri="{FF2B5EF4-FFF2-40B4-BE49-F238E27FC236}">
                <a16:creationId xmlns:a16="http://schemas.microsoft.com/office/drawing/2014/main" id="{F7A7913A-15E2-1E40-4E67-FCF062677EF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82" b="29412"/>
          <a:stretch/>
        </p:blipFill>
        <p:spPr bwMode="auto">
          <a:xfrm>
            <a:off x="633894" y="5311823"/>
            <a:ext cx="4452619" cy="86693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A4F4A3E-6CD7-51E4-BF91-3EA1459FBCBC}"/>
              </a:ext>
            </a:extLst>
          </p:cNvPr>
          <p:cNvSpPr/>
          <p:nvPr/>
        </p:nvSpPr>
        <p:spPr>
          <a:xfrm>
            <a:off x="632219" y="5275063"/>
            <a:ext cx="4544704" cy="90171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935E1F9-13A7-716D-9A09-792FAB99A3A1}"/>
              </a:ext>
            </a:extLst>
          </p:cNvPr>
          <p:cNvSpPr txBox="1"/>
          <p:nvPr/>
        </p:nvSpPr>
        <p:spPr>
          <a:xfrm>
            <a:off x="636722" y="6248400"/>
            <a:ext cx="6204488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cs typeface="Segoe UI"/>
              </a:rPr>
              <a:t>Subvencionat pel Departament d'Empresa (</a:t>
            </a:r>
            <a:r>
              <a:rPr lang="en-US" sz="1400" b="1">
                <a:cs typeface="Segoe UI"/>
              </a:rPr>
              <a:t>Programa </a:t>
            </a:r>
            <a:r>
              <a:rPr lang="en-US" sz="1400">
                <a:cs typeface="Segoe UI"/>
              </a:rPr>
              <a:t>​</a:t>
            </a:r>
          </a:p>
          <a:p>
            <a:r>
              <a:rPr lang="en-US" sz="1400" b="1">
                <a:cs typeface="Segoe UI"/>
              </a:rPr>
              <a:t>Primer)    </a:t>
            </a:r>
            <a:r>
              <a:rPr lang="en-US" sz="1400">
                <a:cs typeface="Segoe UI"/>
              </a:rPr>
              <a:t>i amb el cofinançament del Fons Social Europeu Plu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58F6ED-C991-7244-D3B4-655B8C00E9FE}"/>
              </a:ext>
            </a:extLst>
          </p:cNvPr>
          <p:cNvSpPr txBox="1"/>
          <p:nvPr/>
        </p:nvSpPr>
        <p:spPr>
          <a:xfrm>
            <a:off x="564113" y="2983834"/>
            <a:ext cx="4964623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cs typeface="Segoe UI"/>
              </a:rPr>
              <a:t>PLEASE FILL OUT COURSE SURVEY!!</a:t>
            </a:r>
            <a:r>
              <a:rPr lang="en-US" sz="2400" dirty="0">
                <a:solidFill>
                  <a:srgbClr val="FF0000"/>
                </a:solidFill>
                <a:cs typeface="Segoe UI"/>
              </a:rPr>
              <a:t>​</a:t>
            </a:r>
          </a:p>
          <a:p>
            <a:r>
              <a:rPr lang="en-US" sz="2400" dirty="0">
                <a:solidFill>
                  <a:srgbClr val="FF0000"/>
                </a:solidFill>
                <a:cs typeface="Segoe UI"/>
              </a:rPr>
              <a:t>​</a:t>
            </a:r>
          </a:p>
          <a:p>
            <a:r>
              <a:rPr lang="en-US" sz="2400" dirty="0">
                <a:cs typeface="Segoe UI"/>
                <a:hlinkClick r:id="rId10"/>
              </a:rPr>
              <a:t>Course Survey </a:t>
            </a:r>
          </a:p>
        </p:txBody>
      </p:sp>
    </p:spTree>
    <p:extLst>
      <p:ext uri="{BB962C8B-B14F-4D97-AF65-F5344CB8AC3E}">
        <p14:creationId xmlns:p14="http://schemas.microsoft.com/office/powerpoint/2010/main" val="38196674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656319" y="1652770"/>
            <a:ext cx="10483949" cy="16312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pPr algn="ctr"/>
            <a:r>
              <a:rPr lang="es-ES" sz="2800" b="1">
                <a:latin typeface="Arial"/>
                <a:cs typeface="Calibri"/>
              </a:rPr>
              <a:t>So we have our WHY, our IDEA, is that ENOUGH?</a:t>
            </a:r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sp>
        <p:nvSpPr>
          <p:cNvPr id="5" name="Arrow: Curved Right 4">
            <a:extLst>
              <a:ext uri="{FF2B5EF4-FFF2-40B4-BE49-F238E27FC236}">
                <a16:creationId xmlns:a16="http://schemas.microsoft.com/office/drawing/2014/main" id="{C7746167-C14E-462C-ABD2-F603A77D3D19}"/>
              </a:ext>
            </a:extLst>
          </p:cNvPr>
          <p:cNvSpPr/>
          <p:nvPr/>
        </p:nvSpPr>
        <p:spPr>
          <a:xfrm>
            <a:off x="1188318" y="2941239"/>
            <a:ext cx="731921" cy="2125578"/>
          </a:xfrm>
          <a:prstGeom prst="curvedRightArrow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E58DF3AB-1F49-45BD-84D4-7BC97507C189}"/>
              </a:ext>
            </a:extLst>
          </p:cNvPr>
          <p:cNvSpPr/>
          <p:nvPr/>
        </p:nvSpPr>
        <p:spPr>
          <a:xfrm>
            <a:off x="3044491" y="2994840"/>
            <a:ext cx="6035840" cy="2526630"/>
          </a:xfrm>
          <a:prstGeom prst="wedgeRoundRectCallout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s-ES" sz="2800">
              <a:solidFill>
                <a:schemeClr val="tx1"/>
              </a:solidFill>
              <a:latin typeface="Arial"/>
              <a:ea typeface="+mn-lt"/>
              <a:cs typeface="+mn-lt"/>
            </a:endParaRPr>
          </a:p>
          <a:p>
            <a:pPr algn="ctr"/>
            <a:r>
              <a:rPr lang="es-ES" sz="28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BEFORE GOING FURTHER </a:t>
            </a:r>
            <a:endParaRPr lang="es-ES" dirty="0">
              <a:solidFill>
                <a:schemeClr val="tx1"/>
              </a:solidFill>
              <a:ea typeface="Calibri"/>
              <a:cs typeface="Calibri"/>
            </a:endParaRPr>
          </a:p>
          <a:p>
            <a:pPr algn="ctr"/>
            <a:r>
              <a:rPr lang="es-ES" sz="28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LET’S UNDERSTAND IF </a:t>
            </a:r>
          </a:p>
          <a:p>
            <a:pPr algn="ctr"/>
            <a:r>
              <a:rPr lang="es-ES" sz="28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THAT IDEA IS AN OPPORTUNITY...</a:t>
            </a:r>
            <a:endParaRPr lang="es-ES" dirty="0">
              <a:solidFill>
                <a:schemeClr val="tx1"/>
              </a:solidFill>
              <a:latin typeface="Calibri"/>
              <a:ea typeface="+mn-lt"/>
              <a:cs typeface="+mn-lt"/>
            </a:endParaRPr>
          </a:p>
          <a:p>
            <a:pPr algn="ctr"/>
            <a:r>
              <a:rPr lang="es-ES" dirty="0">
                <a:ea typeface="+mn-lt"/>
                <a:cs typeface="+mn-lt"/>
                <a:hlinkClick r:id="rId9"/>
              </a:rPr>
              <a:t>https://www.youtube.com/watch?v=NyPsP8sus8s</a:t>
            </a:r>
            <a:br>
              <a:rPr lang="es-ES" b="1" dirty="0">
                <a:ea typeface="+mn-lt"/>
                <a:cs typeface="+mn-lt"/>
              </a:rPr>
            </a:br>
            <a:br>
              <a:rPr lang="es-ES" b="1" dirty="0">
                <a:ea typeface="+mn-lt"/>
                <a:cs typeface="+mn-lt"/>
              </a:rPr>
            </a:br>
            <a:endParaRPr lang="es-ES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93124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Graphic 5" descr="Stopwatch">
            <a:extLst>
              <a:ext uri="{FF2B5EF4-FFF2-40B4-BE49-F238E27FC236}">
                <a16:creationId xmlns:a16="http://schemas.microsoft.com/office/drawing/2014/main" id="{FAC81CC7-C9FE-4D0E-B6DA-D2E0317D516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6616" y="2440405"/>
            <a:ext cx="2719136" cy="2739189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6F6D605A-D809-4BD9-BFAC-F65AA6C16963}"/>
              </a:ext>
            </a:extLst>
          </p:cNvPr>
          <p:cNvSpPr/>
          <p:nvPr/>
        </p:nvSpPr>
        <p:spPr>
          <a:xfrm>
            <a:off x="3892295" y="3497499"/>
            <a:ext cx="2055393" cy="772026"/>
          </a:xfrm>
          <a:prstGeom prst="rightArrow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8C56A204-3D6A-469E-AFCE-1178BE01B4EA}"/>
              </a:ext>
            </a:extLst>
          </p:cNvPr>
          <p:cNvSpPr/>
          <p:nvPr/>
        </p:nvSpPr>
        <p:spPr>
          <a:xfrm>
            <a:off x="6653965" y="2643918"/>
            <a:ext cx="4100762" cy="2486526"/>
          </a:xfrm>
          <a:prstGeom prst="wedgeRoundRectCallout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2400" b="1">
                <a:solidFill>
                  <a:schemeClr val="tx1"/>
                </a:solidFill>
                <a:latin typeface="Arial"/>
                <a:ea typeface="+mn-lt"/>
                <a:cs typeface="+mn-lt"/>
              </a:rPr>
              <a:t>TIMING</a:t>
            </a:r>
            <a:endParaRPr lang="en-US" sz="2400" b="1">
              <a:solidFill>
                <a:schemeClr val="tx1"/>
              </a:solidFill>
              <a:latin typeface="Arial"/>
              <a:ea typeface="+mn-lt"/>
              <a:cs typeface="+mn-lt"/>
            </a:endParaRPr>
          </a:p>
          <a:p>
            <a:endParaRPr lang="es-ES" sz="2400">
              <a:solidFill>
                <a:schemeClr val="tx1"/>
              </a:solidFill>
              <a:latin typeface="Arial"/>
              <a:ea typeface="+mn-lt"/>
              <a:cs typeface="+mn-lt"/>
            </a:endParaRPr>
          </a:p>
          <a:p>
            <a:r>
              <a:rPr lang="es-ES" sz="2400">
                <a:solidFill>
                  <a:schemeClr val="tx1"/>
                </a:solidFill>
                <a:latin typeface="Arial"/>
                <a:ea typeface="+mn-lt"/>
                <a:cs typeface="+mn-lt"/>
              </a:rPr>
              <a:t>LET’S IDENTIFY WHY TIMING IS OK IN OUR VENTURE…</a:t>
            </a:r>
            <a:endParaRPr lang="en-GB" sz="240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455061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255266" y="1712927"/>
            <a:ext cx="10223265" cy="495520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s-ES" b="1">
                <a:latin typeface="Arial"/>
                <a:cs typeface="Arial"/>
              </a:rPr>
              <a:t>CHECK IF THEY HAVE A REAL PROBLEM…</a:t>
            </a:r>
          </a:p>
          <a:p>
            <a:endParaRPr lang="es-ES"/>
          </a:p>
          <a:p>
            <a:endParaRPr lang="es-ES"/>
          </a:p>
          <a:p>
            <a:endParaRPr lang="es-ES">
              <a:latin typeface="Arial"/>
              <a:cs typeface="Arial"/>
            </a:endParaRPr>
          </a:p>
          <a:p>
            <a:r>
              <a:rPr lang="es-ES" sz="1600">
                <a:latin typeface="Arial"/>
                <a:cs typeface="Arial"/>
              </a:rPr>
              <a:t>BUT BEFORE DOING THAT LET’S LOOK CLOSER TO </a:t>
            </a:r>
          </a:p>
          <a:p>
            <a:endParaRPr lang="es-ES" sz="1600">
              <a:latin typeface="Arial"/>
              <a:cs typeface="Arial"/>
            </a:endParaRPr>
          </a:p>
          <a:p>
            <a:endParaRPr lang="es-ES" sz="1600">
              <a:latin typeface="Arial"/>
              <a:cs typeface="Arial"/>
            </a:endParaRPr>
          </a:p>
          <a:p>
            <a:r>
              <a:rPr lang="es-ES" sz="1600">
                <a:latin typeface="Arial"/>
                <a:cs typeface="Arial"/>
              </a:rPr>
              <a:t>OUR CUSTOMER</a:t>
            </a:r>
          </a:p>
          <a:p>
            <a:endParaRPr lang="es-ES" sz="1600">
              <a:latin typeface="Arial"/>
              <a:cs typeface="Arial"/>
            </a:endParaRPr>
          </a:p>
          <a:p>
            <a:endParaRPr lang="es-ES" sz="1600">
              <a:latin typeface="Arial"/>
              <a:cs typeface="Arial"/>
            </a:endParaRPr>
          </a:p>
          <a:p>
            <a:r>
              <a:rPr lang="es-ES" sz="2000" b="1">
                <a:latin typeface="Arial"/>
                <a:cs typeface="Arial"/>
              </a:rPr>
              <a:t>EMPATHY CHART</a:t>
            </a:r>
          </a:p>
          <a:p>
            <a:endParaRPr lang="es-ES" sz="2000" b="1">
              <a:latin typeface="Arial"/>
              <a:cs typeface="Arial"/>
            </a:endParaRP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82FB28C-C50C-4F19-ACCA-20E7A83F616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7293" y="1837718"/>
            <a:ext cx="6605505" cy="4271560"/>
          </a:xfrm>
          <a:prstGeom prst="rect">
            <a:avLst/>
          </a:prstGeom>
        </p:spPr>
      </p:pic>
      <p:pic>
        <p:nvPicPr>
          <p:cNvPr id="7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D69AFB8E-32E6-901D-E2F2-A0B6E53792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8902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119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540557" y="2484442"/>
            <a:ext cx="9922476" cy="258532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>
                <a:solidFill>
                  <a:srgbClr val="2A2A2A"/>
                </a:solidFill>
                <a:latin typeface="Arial"/>
                <a:cs typeface="Arial"/>
              </a:rPr>
              <a:t>        </a:t>
            </a:r>
            <a:r>
              <a:rPr lang="en-US" b="0" i="1">
                <a:solidFill>
                  <a:srgbClr val="2A2A2A"/>
                </a:solidFill>
                <a:effectLst/>
                <a:latin typeface="Arial"/>
                <a:cs typeface="Arial"/>
              </a:rPr>
              <a:t>“Well, as a user, I wouldn’t do that.”</a:t>
            </a:r>
            <a:br>
              <a:rPr lang="en-US" b="0" i="1">
                <a:effectLst/>
                <a:latin typeface="Arial"/>
              </a:rPr>
            </a:br>
            <a:r>
              <a:rPr lang="en-US" b="0" i="1">
                <a:solidFill>
                  <a:srgbClr val="2A2A2A"/>
                </a:solidFill>
                <a:effectLst/>
                <a:latin typeface="Arial"/>
                <a:cs typeface="Arial"/>
              </a:rPr>
              <a:t>“Our users aren’t going to worry about that.”</a:t>
            </a:r>
            <a:br>
              <a:rPr lang="en-US" b="0" i="1">
                <a:effectLst/>
                <a:latin typeface="Arial"/>
              </a:rPr>
            </a:br>
            <a:r>
              <a:rPr lang="en-US" i="1">
                <a:solidFill>
                  <a:srgbClr val="2A2A2A"/>
                </a:solidFill>
                <a:latin typeface="Arial"/>
                <a:cs typeface="Arial"/>
              </a:rPr>
              <a:t>   </a:t>
            </a:r>
            <a:r>
              <a:rPr lang="en-US" b="0" i="1">
                <a:solidFill>
                  <a:srgbClr val="2A2A2A"/>
                </a:solidFill>
                <a:effectLst/>
                <a:latin typeface="Arial"/>
                <a:cs typeface="Arial"/>
              </a:rPr>
              <a:t>“It’s my project. I know what users think.”</a:t>
            </a:r>
          </a:p>
          <a:p>
            <a:endParaRPr lang="en-US" i="1">
              <a:solidFill>
                <a:srgbClr val="2A2A2A"/>
              </a:solidFill>
              <a:latin typeface="Whitney SSm A"/>
            </a:endParaRPr>
          </a:p>
          <a:p>
            <a:endParaRPr lang="en-US" i="1">
              <a:solidFill>
                <a:srgbClr val="2A2A2A"/>
              </a:solidFill>
              <a:latin typeface="Whitney SSm A"/>
            </a:endParaRPr>
          </a:p>
          <a:p>
            <a:endParaRPr lang="en-US" i="1">
              <a:solidFill>
                <a:srgbClr val="2A2A2A"/>
              </a:solidFill>
              <a:latin typeface="Whitney SSm A"/>
            </a:endParaRPr>
          </a:p>
          <a:p>
            <a:endParaRPr lang="en-US" i="1">
              <a:solidFill>
                <a:srgbClr val="2A2A2A"/>
              </a:solidFill>
              <a:latin typeface="Whitney SSm A"/>
            </a:endParaRPr>
          </a:p>
          <a:p>
            <a:endParaRPr lang="en-US" i="1">
              <a:solidFill>
                <a:srgbClr val="2A2A2A"/>
              </a:solidFill>
              <a:latin typeface="Whitney SSm A"/>
            </a:endParaRPr>
          </a:p>
          <a:p>
            <a:r>
              <a:rPr lang="en-US" b="1" i="1">
                <a:solidFill>
                  <a:srgbClr val="2A2A2A"/>
                </a:solidFill>
                <a:latin typeface="Arial"/>
                <a:cs typeface="Arial"/>
              </a:rPr>
              <a:t>                      USER- CENTRIC SKILLS</a:t>
            </a:r>
            <a:endParaRPr lang="es-ES" b="1">
              <a:latin typeface="Arial"/>
              <a:cs typeface="Arial"/>
            </a:endParaRPr>
          </a:p>
        </p:txBody>
      </p:sp>
      <p:sp>
        <p:nvSpPr>
          <p:cNvPr id="5" name="Signo de multiplicación 4">
            <a:extLst>
              <a:ext uri="{FF2B5EF4-FFF2-40B4-BE49-F238E27FC236}">
                <a16:creationId xmlns:a16="http://schemas.microsoft.com/office/drawing/2014/main" id="{06C387B2-7992-4746-8A62-99F2826564B7}"/>
              </a:ext>
            </a:extLst>
          </p:cNvPr>
          <p:cNvSpPr/>
          <p:nvPr/>
        </p:nvSpPr>
        <p:spPr>
          <a:xfrm>
            <a:off x="6520608" y="1825781"/>
            <a:ext cx="1978206" cy="1598968"/>
          </a:xfrm>
          <a:prstGeom prst="mathMultiply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Cara sonriente 6">
            <a:extLst>
              <a:ext uri="{FF2B5EF4-FFF2-40B4-BE49-F238E27FC236}">
                <a16:creationId xmlns:a16="http://schemas.microsoft.com/office/drawing/2014/main" id="{2D13121D-0947-4E73-ABA2-B0FDCFC4221C}"/>
              </a:ext>
            </a:extLst>
          </p:cNvPr>
          <p:cNvSpPr/>
          <p:nvPr/>
        </p:nvSpPr>
        <p:spPr>
          <a:xfrm>
            <a:off x="6691018" y="3916618"/>
            <a:ext cx="1637348" cy="1561176"/>
          </a:xfrm>
          <a:prstGeom prst="smileyFac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9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E2658D0F-E4D6-0B05-0D71-6E6BB30770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614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to 37" hidden="1">
            <a:extLst>
              <a:ext uri="{FF2B5EF4-FFF2-40B4-BE49-F238E27FC236}">
                <a16:creationId xmlns:a16="http://schemas.microsoft.com/office/drawing/2014/main" id="{484EDEEF-818C-4F18-88C4-69CBF3B38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53" imgH="353" progId="TCLayout.ActiveDocument.1">
                  <p:embed/>
                </p:oleObj>
              </mc:Choice>
              <mc:Fallback>
                <p:oleObj name="Diapositiva de think-cell" r:id="rId5" imgW="353" imgH="353" progId="TCLayout.ActiveDocument.1">
                  <p:embed/>
                  <p:pic>
                    <p:nvPicPr>
                      <p:cNvPr id="38" name="Objeto 37" hidden="1">
                        <a:extLst>
                          <a:ext uri="{FF2B5EF4-FFF2-40B4-BE49-F238E27FC236}">
                            <a16:creationId xmlns:a16="http://schemas.microsoft.com/office/drawing/2014/main" id="{484EDEEF-818C-4F18-88C4-69CBF3B38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ángulo 36" hidden="1">
            <a:extLst>
              <a:ext uri="{FF2B5EF4-FFF2-40B4-BE49-F238E27FC236}">
                <a16:creationId xmlns:a16="http://schemas.microsoft.com/office/drawing/2014/main" id="{0CFE35AE-8805-4D47-93B4-4A6D97F504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845EBB6-883F-410A-8B40-FA84E95A496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32510" y="748722"/>
            <a:ext cx="6352837" cy="498004"/>
          </a:xfrm>
        </p:spPr>
        <p:txBody>
          <a:bodyPr>
            <a:noAutofit/>
          </a:bodyPr>
          <a:lstStyle/>
          <a:p>
            <a:r>
              <a:rPr lang="en-GB" sz="4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Opportunity Analys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60EE8EA7-BD80-4CE6-8578-4A6D53B30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274073"/>
            <a:ext cx="6096000" cy="45719"/>
          </a:xfrm>
          <a:prstGeom prst="rect">
            <a:avLst/>
          </a:prstGeom>
        </p:spPr>
      </p:pic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81998B5D-7FDD-49BC-8BF2-02F3B310D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6DD53E-0DF1-459C-A325-AB1131EF82F7}"/>
              </a:ext>
            </a:extLst>
          </p:cNvPr>
          <p:cNvSpPr txBox="1"/>
          <p:nvPr/>
        </p:nvSpPr>
        <p:spPr>
          <a:xfrm>
            <a:off x="619410" y="1460679"/>
            <a:ext cx="9922476" cy="53860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s-ES"/>
          </a:p>
          <a:p>
            <a:r>
              <a:rPr lang="es-ES" sz="2000" b="1">
                <a:latin typeface="Arial"/>
                <a:cs typeface="Arial"/>
              </a:rPr>
              <a:t>EMPATHY CHART</a:t>
            </a:r>
          </a:p>
          <a:p>
            <a:endParaRPr lang="es-ES">
              <a:latin typeface="Arial"/>
              <a:cs typeface="Arial"/>
            </a:endParaRPr>
          </a:p>
          <a:p>
            <a:pPr algn="l"/>
            <a:r>
              <a:rPr lang="en-US" b="1" i="0">
                <a:solidFill>
                  <a:srgbClr val="F7B562"/>
                </a:solidFill>
                <a:effectLst/>
                <a:latin typeface="Arial"/>
                <a:cs typeface="Arial"/>
              </a:rPr>
              <a:t>Step 1: Establish Focus and Goals</a:t>
            </a:r>
          </a:p>
          <a:p>
            <a:pPr algn="l"/>
            <a:r>
              <a:rPr lang="en-US" b="1" i="0">
                <a:solidFill>
                  <a:srgbClr val="2A2A2A"/>
                </a:solidFill>
                <a:effectLst/>
                <a:latin typeface="Arial"/>
                <a:cs typeface="Arial"/>
              </a:rPr>
              <a:t>Who is the person for the map?</a:t>
            </a:r>
            <a:br>
              <a:rPr lang="en-US" b="0" i="0">
                <a:effectLst/>
                <a:latin typeface="Arial"/>
              </a:rPr>
            </a:br>
            <a:r>
              <a:rPr lang="en-US" b="1" i="0">
                <a:solidFill>
                  <a:srgbClr val="2A2A2A"/>
                </a:solidFill>
                <a:effectLst/>
                <a:latin typeface="Arial"/>
                <a:cs typeface="Arial"/>
              </a:rPr>
              <a:t>What is the desired outcome?</a:t>
            </a:r>
            <a:br>
              <a:rPr lang="en-US" b="1" i="0">
                <a:effectLst/>
                <a:latin typeface="Arial"/>
              </a:rPr>
            </a:br>
            <a:endParaRPr lang="en-US" b="1" i="0">
              <a:solidFill>
                <a:srgbClr val="2A2A2A"/>
              </a:solidFill>
              <a:effectLst/>
              <a:latin typeface="Arial"/>
              <a:cs typeface="Arial"/>
            </a:endParaRPr>
          </a:p>
          <a:p>
            <a:pPr algn="l"/>
            <a:r>
              <a:rPr lang="en-US" b="1" i="0">
                <a:solidFill>
                  <a:srgbClr val="F7B562"/>
                </a:solidFill>
                <a:effectLst/>
                <a:latin typeface="Arial"/>
                <a:cs typeface="Arial"/>
              </a:rPr>
              <a:t>Step 2: Capture the Outside World</a:t>
            </a:r>
          </a:p>
          <a:p>
            <a:pPr algn="l"/>
            <a:r>
              <a:rPr lang="en-US" b="1" i="0">
                <a:solidFill>
                  <a:srgbClr val="2A2A2A"/>
                </a:solidFill>
                <a:effectLst/>
                <a:latin typeface="Arial"/>
                <a:cs typeface="Arial"/>
              </a:rPr>
              <a:t>What does she SEE?</a:t>
            </a:r>
            <a:br>
              <a:rPr lang="en-US" b="1" i="0">
                <a:effectLst/>
                <a:latin typeface="Arial"/>
              </a:rPr>
            </a:br>
            <a:r>
              <a:rPr lang="en-US" b="1" i="0">
                <a:solidFill>
                  <a:srgbClr val="2A2A2A"/>
                </a:solidFill>
                <a:effectLst/>
                <a:latin typeface="Arial"/>
                <a:cs typeface="Arial"/>
              </a:rPr>
              <a:t>What does she DO and SAY?</a:t>
            </a:r>
            <a:br>
              <a:rPr lang="en-US" b="1" i="0">
                <a:effectLst/>
                <a:latin typeface="Arial"/>
              </a:rPr>
            </a:br>
            <a:r>
              <a:rPr lang="en-US" b="1" i="0">
                <a:solidFill>
                  <a:srgbClr val="2A2A2A"/>
                </a:solidFill>
                <a:effectLst/>
                <a:latin typeface="Arial"/>
                <a:cs typeface="Arial"/>
              </a:rPr>
              <a:t>What does she HEAR?</a:t>
            </a:r>
            <a:br>
              <a:rPr lang="en-US" b="1" i="0">
                <a:effectLst/>
                <a:latin typeface="Arial"/>
              </a:rPr>
            </a:br>
            <a:endParaRPr lang="es-ES">
              <a:latin typeface="Arial"/>
              <a:cs typeface="Arial"/>
            </a:endParaRPr>
          </a:p>
          <a:p>
            <a:pPr algn="l"/>
            <a:r>
              <a:rPr lang="en-US" b="1" i="0">
                <a:solidFill>
                  <a:srgbClr val="F7B562"/>
                </a:solidFill>
                <a:effectLst/>
                <a:latin typeface="Arial"/>
                <a:cs typeface="Arial"/>
              </a:rPr>
              <a:t>Step 3: Explore Inside the Mind</a:t>
            </a:r>
          </a:p>
          <a:p>
            <a:pPr algn="l"/>
            <a:r>
              <a:rPr lang="en-US" b="1" i="0">
                <a:solidFill>
                  <a:srgbClr val="2A2A2A"/>
                </a:solidFill>
                <a:effectLst/>
                <a:latin typeface="Arial"/>
                <a:cs typeface="Arial"/>
              </a:rPr>
              <a:t>What does she THINK and FEEL?</a:t>
            </a:r>
          </a:p>
          <a:p>
            <a:endParaRPr lang="en-US" b="1">
              <a:solidFill>
                <a:srgbClr val="F7B562"/>
              </a:solidFill>
              <a:latin typeface="Arial"/>
              <a:cs typeface="Arial"/>
            </a:endParaRPr>
          </a:p>
          <a:p>
            <a:r>
              <a:rPr lang="en-US" b="1" i="0">
                <a:solidFill>
                  <a:srgbClr val="F7B562"/>
                </a:solidFill>
                <a:effectLst/>
                <a:latin typeface="Arial"/>
                <a:cs typeface="Arial"/>
              </a:rPr>
              <a:t>Step 4: Summarize and Share</a:t>
            </a:r>
            <a:endParaRPr lang="en-US"/>
          </a:p>
          <a:p>
            <a:pPr algn="l"/>
            <a:r>
              <a:rPr lang="en-US" b="0" i="0">
                <a:solidFill>
                  <a:srgbClr val="2A2A2A"/>
                </a:solidFill>
                <a:effectLst/>
                <a:latin typeface="Whitney SSm A"/>
              </a:rPr>
              <a:t> 						</a:t>
            </a:r>
            <a:endParaRPr lang="es-ES"/>
          </a:p>
          <a:p>
            <a:endParaRPr lang="es-ES"/>
          </a:p>
          <a:p>
            <a:endParaRPr lang="es-ES"/>
          </a:p>
        </p:txBody>
      </p:sp>
      <p:sp>
        <p:nvSpPr>
          <p:cNvPr id="5" name="Cerrar llave 4">
            <a:extLst>
              <a:ext uri="{FF2B5EF4-FFF2-40B4-BE49-F238E27FC236}">
                <a16:creationId xmlns:a16="http://schemas.microsoft.com/office/drawing/2014/main" id="{6030A273-43AC-476C-B824-5A76E55990EA}"/>
              </a:ext>
            </a:extLst>
          </p:cNvPr>
          <p:cNvSpPr/>
          <p:nvPr/>
        </p:nvSpPr>
        <p:spPr>
          <a:xfrm>
            <a:off x="5016843" y="2471351"/>
            <a:ext cx="1346887" cy="336474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C611A36-A6A9-4764-ABC4-B43293F6A7FC}"/>
              </a:ext>
            </a:extLst>
          </p:cNvPr>
          <p:cNvSpPr/>
          <p:nvPr/>
        </p:nvSpPr>
        <p:spPr>
          <a:xfrm>
            <a:off x="6611353" y="2791327"/>
            <a:ext cx="5023183" cy="2486524"/>
          </a:xfrm>
          <a:prstGeom prst="ellipse">
            <a:avLst/>
          </a:prstGeom>
          <a:solidFill>
            <a:srgbClr val="F7B5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solidFill>
                  <a:schemeClr val="tx1"/>
                </a:solidFill>
                <a:latin typeface="Arial"/>
                <a:cs typeface="Arial"/>
              </a:rPr>
              <a:t>PERSONA PROFILE</a:t>
            </a:r>
            <a:endParaRPr lang="en-US">
              <a:solidFill>
                <a:schemeClr val="tx1"/>
              </a:solidFill>
              <a:ea typeface="+mn-lt"/>
              <a:cs typeface="+mn-lt"/>
            </a:endParaRPr>
          </a:p>
          <a:p>
            <a:pPr algn="ctr"/>
            <a:endParaRPr lang="es-ES">
              <a:ea typeface="+mn-lt"/>
              <a:cs typeface="+mn-lt"/>
            </a:endParaRPr>
          </a:p>
          <a:p>
            <a:pPr algn="ctr"/>
            <a:r>
              <a:rPr lang="en-US">
                <a:solidFill>
                  <a:srgbClr val="2A2A2A"/>
                </a:solidFill>
                <a:latin typeface="Arial"/>
                <a:cs typeface="Arial"/>
              </a:rPr>
              <a:t>a session that reveals more questions than answers indicates where more user research needs to be done.</a:t>
            </a:r>
            <a:endParaRPr lang="en-GB">
              <a:cs typeface="Calibri"/>
            </a:endParaRPr>
          </a:p>
        </p:txBody>
      </p:sp>
      <p:pic>
        <p:nvPicPr>
          <p:cNvPr id="9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A02FA1B0-7340-5A4E-6F4B-FCA06F62C96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56891" y="-22884"/>
            <a:ext cx="1536653" cy="154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340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U3Z5xSbSxphl70N2M2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gpshLQy6DEZmNGCnso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EF37DF7B81F44EBF315C4882E70794" ma:contentTypeVersion="14" ma:contentTypeDescription="Crea un document nou" ma:contentTypeScope="" ma:versionID="f90c47eb7e3f6a588459d080307382aa">
  <xsd:schema xmlns:xsd="http://www.w3.org/2001/XMLSchema" xmlns:xs="http://www.w3.org/2001/XMLSchema" xmlns:p="http://schemas.microsoft.com/office/2006/metadata/properties" xmlns:ns2="6847104e-379b-4806-ac2b-ec39a5e4fc8e" xmlns:ns3="ff89c1a9-ab0d-4b15-8824-e62a8110aa5c" targetNamespace="http://schemas.microsoft.com/office/2006/metadata/properties" ma:root="true" ma:fieldsID="6fa92402cc23000a80ee2de2ec171ffb" ns2:_="" ns3:_="">
    <xsd:import namespace="6847104e-379b-4806-ac2b-ec39a5e4fc8e"/>
    <xsd:import namespace="ff89c1a9-ab0d-4b15-8824-e62a8110aa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47104e-379b-4806-ac2b-ec39a5e4fc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Etiquetes de la imatge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89c1a9-ab0d-4b15-8824-e62a8110aa5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94ef3a5-d400-4c39-a051-e59526feca85}" ma:internalName="TaxCatchAll" ma:showField="CatchAllData" ma:web="ff89c1a9-ab0d-4b15-8824-e62a8110aa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847104e-379b-4806-ac2b-ec39a5e4fc8e">
      <Terms xmlns="http://schemas.microsoft.com/office/infopath/2007/PartnerControls"/>
    </lcf76f155ced4ddcb4097134ff3c332f>
    <TaxCatchAll xmlns="ff89c1a9-ab0d-4b15-8824-e62a8110aa5c" xsi:nil="true"/>
  </documentManagement>
</p:properties>
</file>

<file path=customXml/itemProps1.xml><?xml version="1.0" encoding="utf-8"?>
<ds:datastoreItem xmlns:ds="http://schemas.openxmlformats.org/officeDocument/2006/customXml" ds:itemID="{8DD54C75-B314-40FC-B01C-81D2B7D7B6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DE104D-8C2F-4B1B-BFA0-EB97856BEA3F}">
  <ds:schemaRefs>
    <ds:schemaRef ds:uri="6847104e-379b-4806-ac2b-ec39a5e4fc8e"/>
    <ds:schemaRef ds:uri="ff89c1a9-ab0d-4b15-8824-e62a8110aa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078861C-BD5D-45C5-813E-386AF21E84E9}">
  <ds:schemaRefs>
    <ds:schemaRef ds:uri="6847104e-379b-4806-ac2b-ec39a5e4fc8e"/>
    <ds:schemaRef ds:uri="fac5c5d6-3f40-4888-827f-2feba602e379"/>
    <ds:schemaRef ds:uri="ff89c1a9-ab0d-4b15-8824-e62a8110aa5c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9</TotalTime>
  <Words>1342</Words>
  <Application>Microsoft Office PowerPoint</Application>
  <PresentationFormat>Panorámica</PresentationFormat>
  <Paragraphs>465</Paragraphs>
  <Slides>4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45</vt:i4>
      </vt:variant>
    </vt:vector>
  </HeadingPairs>
  <TitlesOfParts>
    <vt:vector size="57" baseType="lpstr">
      <vt:lpstr>Arial</vt:lpstr>
      <vt:lpstr>Arial,Sans-Serif</vt:lpstr>
      <vt:lpstr>Calibri</vt:lpstr>
      <vt:lpstr>Calibri Light</vt:lpstr>
      <vt:lpstr>Georgia</vt:lpstr>
      <vt:lpstr>GT America</vt:lpstr>
      <vt:lpstr>Segoe UI</vt:lpstr>
      <vt:lpstr>Whitney SSm A</vt:lpstr>
      <vt:lpstr>Wingdings</vt:lpstr>
      <vt:lpstr>Tema de Office</vt:lpstr>
      <vt:lpstr>Diapositiva de think-cell</vt:lpstr>
      <vt:lpstr>Hoja de cálculo de Microsoft Excel</vt:lpstr>
      <vt:lpstr>Presentación de PowerPoint</vt:lpstr>
      <vt:lpstr>Opportunity Analysis</vt:lpstr>
      <vt:lpstr>Presentación de PowerPoint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Analysis</vt:lpstr>
      <vt:lpstr>Opportunity  Analysis</vt:lpstr>
      <vt:lpstr>Opportunity Analysi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efly about us</dc:title>
  <dc:creator>Alexandra Vintila</dc:creator>
  <cp:lastModifiedBy>Xavier Arola</cp:lastModifiedBy>
  <cp:revision>65</cp:revision>
  <dcterms:created xsi:type="dcterms:W3CDTF">2018-04-09T07:59:17Z</dcterms:created>
  <dcterms:modified xsi:type="dcterms:W3CDTF">2025-09-25T09:3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EF37DF7B81F44EBF315C4882E70794</vt:lpwstr>
  </property>
  <property fmtid="{D5CDD505-2E9C-101B-9397-08002B2CF9AE}" pid="3" name="MediaServiceImageTags">
    <vt:lpwstr/>
  </property>
</Properties>
</file>